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6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4"/>
    <p:sldMasterId id="2147483778" r:id="rId5"/>
  </p:sldMasterIdLst>
  <p:notesMasterIdLst>
    <p:notesMasterId r:id="rId26"/>
  </p:notesMasterIdLst>
  <p:handoutMasterIdLst>
    <p:handoutMasterId r:id="rId27"/>
  </p:handoutMasterIdLst>
  <p:sldIdLst>
    <p:sldId id="256" r:id="rId6"/>
    <p:sldId id="4829" r:id="rId7"/>
    <p:sldId id="4838" r:id="rId8"/>
    <p:sldId id="4837" r:id="rId9"/>
    <p:sldId id="4851" r:id="rId10"/>
    <p:sldId id="4839" r:id="rId11"/>
    <p:sldId id="4830" r:id="rId12"/>
    <p:sldId id="4842" r:id="rId13"/>
    <p:sldId id="4840" r:id="rId14"/>
    <p:sldId id="4841" r:id="rId15"/>
    <p:sldId id="4843" r:id="rId16"/>
    <p:sldId id="4844" r:id="rId17"/>
    <p:sldId id="4845" r:id="rId18"/>
    <p:sldId id="4846" r:id="rId19"/>
    <p:sldId id="4847" r:id="rId20"/>
    <p:sldId id="4848" r:id="rId21"/>
    <p:sldId id="4823" r:id="rId22"/>
    <p:sldId id="4849" r:id="rId23"/>
    <p:sldId id="4850" r:id="rId24"/>
    <p:sldId id="257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51EEEFA-2812-4240-ABFC-434352890F4C}">
          <p14:sldIdLst>
            <p14:sldId id="256"/>
            <p14:sldId id="4829"/>
            <p14:sldId id="4838"/>
            <p14:sldId id="4837"/>
            <p14:sldId id="4851"/>
            <p14:sldId id="4839"/>
            <p14:sldId id="4830"/>
            <p14:sldId id="4842"/>
            <p14:sldId id="4840"/>
            <p14:sldId id="4841"/>
            <p14:sldId id="4843"/>
            <p14:sldId id="4844"/>
            <p14:sldId id="4845"/>
            <p14:sldId id="4846"/>
            <p14:sldId id="4847"/>
            <p14:sldId id="4848"/>
            <p14:sldId id="4823"/>
            <p14:sldId id="4849"/>
            <p14:sldId id="4850"/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33FF1E-52B5-3CF8-6B65-C89E4337C759}" name="Nico Schoenenberger" initials="NS" userId="Anonymous_Nico Schoenenberger" providerId="None"/>
  <p188:author id="{E0699C28-AB9A-060D-1975-E80BE9FDC910}" name="Helena Meerpohl" initials="HM" userId="S::helena.meerpohl@academyconsult.de::4bbc49a5-08b8-4367-a410-60c7af46e9b2" providerId="AD"/>
  <p188:author id="{1771C467-8B20-A844-0F3E-483413CDEBAA}" name="Garkisch,Greta" initials="G" userId="S::greta.garkisch@tum.de::13545d1e-d7de-4437-8314-a9b4dc19b4d4" providerId="AD"/>
  <p188:author id="{AB3E758E-9082-FE30-5BDC-4ADA398CECBD}" name="Alena Priesner" initials="AP" userId="S::alena.priesner@academyconsult.de::1165f020-b880-46b9-849c-3215eedf9947" providerId="AD"/>
  <p188:author id="{3DC76192-0D6F-2CF6-D566-3580E7D7788B}" name="Sebastian Weisel" initials="SW" userId="S::sebastian.weisel@academyconsult.de::4c99d3c4-66bb-4572-85d8-d9f04892b79f" providerId="AD"/>
  <p188:author id="{F95F8794-5DA7-14DA-3511-60DA1807566B}" name="Larissa Ruf" initials="LR" userId="S::larissa.ruf@academyconsult.de::cfa1cec2-aad7-47d7-8fde-b6d8a1896fe7" providerId="AD"/>
  <p188:author id="{082E0699-1C94-5BE5-570F-07FBDF77B95D}" name="Robert Böttcher" initials="RB" userId="S::robert.boettcher@academyconsult.de::65465e1c-ecc5-4096-8345-1b7c03dd88aa" providerId="AD"/>
  <p188:author id="{F11578BB-2BFD-36E9-B49F-9040887235C0}" name="Robert Böttcher" initials="RB" userId="Robert Böttcher" providerId="None"/>
  <p188:author id="{4D89B5BC-73AA-A9CF-5E48-D5AC66188E90}" name="Greta Garkisch" initials="GG" userId="S::greta.garkisch@academyconsult.de::51028bbb-a7bf-46da-b118-631899e10d52" providerId="AD"/>
  <p188:author id="{B54A0FC6-1982-D712-451D-2E952912BF4C}" name="Catharina Weitbrecht" initials="CW" userId="S::catharina.weitbrecht@academyconsult.de::ad3a079b-70c0-4f8c-bf4b-8b1facdb600c" providerId="AD"/>
  <p188:author id="{037668DF-BABE-0C90-795B-527FB1AC0DB4}" name="Luis Bischof" initials="LB" userId="S::luis.bischof@academyconsult.de::ae02ca55-ae87-4345-bc84-0cf5c8a93a4f" providerId="AD"/>
  <p188:author id="{47AC58EF-42EB-F050-4E6A-7E0A3A4916D2}" name="Tobias Gutewort" initials="TG" userId="Tobias Gutewort" providerId="None"/>
  <p188:author id="{C8F5FAFD-CA2D-3A5D-DD6C-752B972CD105}" name="Alena" initials="A" userId="Alena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53" name="ga46kog" initials="g [40]" lastIdx="1" clrIdx="126"/>
  <p:cmAuthor id="154" name="ga46kog" initials="g [41]" lastIdx="1" clrIdx="106"/>
  <p:cmAuthor id="155" name="ga46kog" initials="g [42]" lastIdx="1" clrIdx="108"/>
  <p:cmAuthor id="156" name="Henrik Steffens" initials="HS" lastIdx="9" clrIdx="127"/>
  <p:cmAuthor id="6" name="Ein Microsoft Office-Anwender" initials="Office [3]" lastIdx="1" clrIdx="0"/>
  <p:cmAuthor id="157" name="Henrik Steffens" initials="HS [2]" lastIdx="1" clrIdx="128"/>
  <p:cmAuthor id="7" name="Maximilian Mayr" initials="MM" lastIdx="1" clrIdx="1"/>
  <p:cmAuthor id="158" name="ga59bay" initials="g" lastIdx="2" clrIdx="129"/>
  <p:cmAuthor id="8" name="Patrick Kroyer" initials="PK" lastIdx="5" clrIdx="2"/>
  <p:cmAuthor id="159" name="Moritz Münker" initials="MM" lastIdx="30" clrIdx="130"/>
  <p:cmAuthor id="9" name="Julia Aulbach" initials="JA" lastIdx="28" clrIdx="3"/>
  <p:cmAuthor id="160" name="Moritz Münker" initials="MM [2]" lastIdx="1" clrIdx="131"/>
  <p:cmAuthor id="10" name="Paul Kaiser" initials="PK" lastIdx="404" clrIdx="4"/>
  <p:cmAuthor id="161" name="Moritz Münker" initials="MM [4]" lastIdx="1" clrIdx="132"/>
  <p:cmAuthor id="11" name="Paul Kaiser" initials="PK [2]" lastIdx="1" clrIdx="5"/>
  <p:cmAuthor id="162" name="Moritz Münker" initials="MM [5]" lastIdx="1" clrIdx="133"/>
  <p:cmAuthor id="12" name="Paul Kaiser" initials="PK [3]" lastIdx="1" clrIdx="6"/>
  <p:cmAuthor id="163" name="Moritz Münker" initials="MM [3]" lastIdx="1" clrIdx="134"/>
  <p:cmAuthor id="13" name="Paul Kaiser" initials="PK [4]" lastIdx="1" clrIdx="7"/>
  <p:cmAuthor id="164" name="Robert Höhner" initials="RH" lastIdx="82" clrIdx="135"/>
  <p:cmAuthor id="14" name="Paul Kaiser" initials="PK [5]" lastIdx="1" clrIdx="8"/>
  <p:cmAuthor id="165" name="Daniel Al-Khalaf" initials="DA" lastIdx="21" clrIdx="136"/>
  <p:cmAuthor id="15" name="Paul Kaiser" initials="PK [6]" lastIdx="1" clrIdx="9"/>
  <p:cmAuthor id="166" name="Moritz Bonacker" initials="MB" lastIdx="15" clrIdx="137"/>
  <p:cmAuthor id="16" name="Paul Kaiser" initials="PK [7]" lastIdx="1" clrIdx="10"/>
  <p:cmAuthor id="167" name="Luka Baar" initials="LB" lastIdx="4" clrIdx="138"/>
  <p:cmAuthor id="17" name="Paul Kaiser" initials="PK [8]" lastIdx="1" clrIdx="11"/>
  <p:cmAuthor id="168" name="Viola Nuener" initials="VN" lastIdx="73" clrIdx="139"/>
  <p:cmAuthor id="18" name="Paul Kaiser" initials="PK [9]" lastIdx="1" clrIdx="12"/>
  <p:cmAuthor id="169" name="Viola Nuener" initials="VN [2]" lastIdx="1" clrIdx="140"/>
  <p:cmAuthor id="19" name="Paul Kaiser" initials="PK [10]" lastIdx="1" clrIdx="13"/>
  <p:cmAuthor id="170" name="Viola Nuener" initials="VN [3]" lastIdx="1" clrIdx="141"/>
  <p:cmAuthor id="20" name="Paul Kaiser" initials="PK [11]" lastIdx="1" clrIdx="14"/>
  <p:cmAuthor id="171" name="Viola Nuener" initials="VN [4]" lastIdx="1" clrIdx="142"/>
  <p:cmAuthor id="21" name="Paul Kaiser" initials="PK [12]" lastIdx="1" clrIdx="15"/>
  <p:cmAuthor id="172" name="Viola Nuener" initials="VN [5]" lastIdx="1" clrIdx="143"/>
  <p:cmAuthor id="22" name="Paul Kaiser" initials="PK [13]" lastIdx="1" clrIdx="16"/>
  <p:cmAuthor id="173" name="Beatriz Garabosky" initials="BG" lastIdx="37" clrIdx="144"/>
  <p:cmAuthor id="23" name="Paul Kaiser" initials="PK [14]" lastIdx="1" clrIdx="17"/>
  <p:cmAuthor id="174" name="Frederic Kuhwald" initials="FK" lastIdx="110" clrIdx="145"/>
  <p:cmAuthor id="24" name="Paul Kaiser" initials="PK [15]" lastIdx="1" clrIdx="18"/>
  <p:cmAuthor id="175" name="Christian Strobl" initials="CS" lastIdx="26" clrIdx="146"/>
  <p:cmAuthor id="25" name="Paul Kaiser" initials="PK [16]" lastIdx="1" clrIdx="19"/>
  <p:cmAuthor id="176" name="Kevin Bieber" initials="KB" lastIdx="22" clrIdx="147"/>
  <p:cmAuthor id="26" name="Paul Kaiser" initials="PK [17]" lastIdx="1" clrIdx="20"/>
  <p:cmAuthor id="177" name="Kevin Bieber" initials="KB [2]" lastIdx="1" clrIdx="148"/>
  <p:cmAuthor id="27" name="Paul Kaiser" initials="PK [18]" lastIdx="1" clrIdx="21"/>
  <p:cmAuthor id="178" name="Kevin Bieber" initials="KB [3]" lastIdx="1" clrIdx="149"/>
  <p:cmAuthor id="28" name="Paul Kaiser" initials="PK [19]" lastIdx="1" clrIdx="22"/>
  <p:cmAuthor id="179" name="Kevin Bieber" initials="KB [4]" lastIdx="1" clrIdx="150"/>
  <p:cmAuthor id="29" name="Paul Kaiser" initials="PK [20]" lastIdx="1" clrIdx="23"/>
  <p:cmAuthor id="180" name="Kevin Bieber" initials="KB [5]" lastIdx="1" clrIdx="151"/>
  <p:cmAuthor id="30" name="Paul Kaiser" initials="PK [21]" lastIdx="1" clrIdx="24"/>
  <p:cmAuthor id="181" name="Kevin Bieber" initials="KB [6]" lastIdx="1" clrIdx="152"/>
  <p:cmAuthor id="31" name="Paul Kaiser" initials="PK [22]" lastIdx="1" clrIdx="25"/>
  <p:cmAuthor id="182" name="Kevin Bieber" initials="KB [7]" lastIdx="1" clrIdx="153"/>
  <p:cmAuthor id="32" name="Paul Kaiser" initials="PK [23]" lastIdx="1" clrIdx="26"/>
  <p:cmAuthor id="183" name="Marius Evers" initials="ME" lastIdx="96" clrIdx="154"/>
  <p:cmAuthor id="33" name="Paul Kaiser" initials="PK [24]" lastIdx="1" clrIdx="27"/>
  <p:cmAuthor id="184" name="Alena" initials="A" lastIdx="19" clrIdx="155">
    <p:extLst>
      <p:ext uri="{19B8F6BF-5375-455C-9EA6-DF929625EA0E}">
        <p15:presenceInfo xmlns:p15="http://schemas.microsoft.com/office/powerpoint/2012/main" userId="Alena" providerId="None"/>
      </p:ext>
    </p:extLst>
  </p:cmAuthor>
  <p:cmAuthor id="34" name="Paul Kaiser" initials="PK [25]" lastIdx="1" clrIdx="28"/>
  <p:cmAuthor id="185" name="Catharina Weitbrecht" initials="CW" lastIdx="19" clrIdx="156">
    <p:extLst>
      <p:ext uri="{19B8F6BF-5375-455C-9EA6-DF929625EA0E}">
        <p15:presenceInfo xmlns:p15="http://schemas.microsoft.com/office/powerpoint/2012/main" userId="S::catharina.weitbrecht@academyconsult.de::ad3a079b-70c0-4f8c-bf4b-8b1facdb600c" providerId="AD"/>
      </p:ext>
    </p:extLst>
  </p:cmAuthor>
  <p:cmAuthor id="35" name="Paul Kaiser" initials="PK [26]" lastIdx="1" clrIdx="29"/>
  <p:cmAuthor id="186" name="Greta Garkisch" initials="GG" lastIdx="25" clrIdx="157">
    <p:extLst>
      <p:ext uri="{19B8F6BF-5375-455C-9EA6-DF929625EA0E}">
        <p15:presenceInfo xmlns:p15="http://schemas.microsoft.com/office/powerpoint/2012/main" userId="S::greta.garkisch@academyconsult.de::51028bbb-a7bf-46da-b118-631899e10d52" providerId="AD"/>
      </p:ext>
    </p:extLst>
  </p:cmAuthor>
  <p:cmAuthor id="36" name="Paul Kaiser" initials="PK [27]" lastIdx="1" clrIdx="30"/>
  <p:cmAuthor id="187" name="Larissa Ruf" initials="LR" lastIdx="44" clrIdx="158">
    <p:extLst>
      <p:ext uri="{19B8F6BF-5375-455C-9EA6-DF929625EA0E}">
        <p15:presenceInfo xmlns:p15="http://schemas.microsoft.com/office/powerpoint/2012/main" userId="S::larissa.ruf@academyconsult.de::cfa1cec2-aad7-47d7-8fde-b6d8a1896fe7" providerId="AD"/>
      </p:ext>
    </p:extLst>
  </p:cmAuthor>
  <p:cmAuthor id="37" name="Paul Kaiser" initials="PK [28]" lastIdx="1" clrIdx="31"/>
  <p:cmAuthor id="38" name="Paul Kaiser" initials="PK [29]" lastIdx="1" clrIdx="32"/>
  <p:cmAuthor id="39" name="Paul Kaiser" initials="PK [30]" lastIdx="1" clrIdx="33"/>
  <p:cmAuthor id="40" name="Paul Kaiser" initials="PK [31]" lastIdx="1" clrIdx="34"/>
  <p:cmAuthor id="41" name="Paul Kaiser" initials="PK [32]" lastIdx="1" clrIdx="35"/>
  <p:cmAuthor id="42" name="Paul Kaiser" initials="PK [33]" lastIdx="1" clrIdx="36"/>
  <p:cmAuthor id="43" name="Paul Kaiser" initials="PK [34]" lastIdx="1" clrIdx="37"/>
  <p:cmAuthor id="44" name="Paul Kaiser" initials="PK [35]" lastIdx="1" clrIdx="38"/>
  <p:cmAuthor id="45" name="Paul Kaiser" initials="PK [36]" lastIdx="1" clrIdx="39"/>
  <p:cmAuthor id="46" name="Paul Kaiser" initials="PK [37]" lastIdx="1" clrIdx="40"/>
  <p:cmAuthor id="47" name="Julian Blum" initials="JB" lastIdx="131" clrIdx="41"/>
  <p:cmAuthor id="48" name="Julian Blum" initials="JB [2]" lastIdx="1" clrIdx="42"/>
  <p:cmAuthor id="49" name="Julian Blum" initials="JB [3]" lastIdx="1" clrIdx="43"/>
  <p:cmAuthor id="50" name="Julian Blum" initials="JB [4]" lastIdx="1" clrIdx="44"/>
  <p:cmAuthor id="51" name="Julian Blum" initials="JB [5]" lastIdx="1" clrIdx="45"/>
  <p:cmAuthor id="52" name="Julian Blum" initials="JB [6]" lastIdx="1" clrIdx="46"/>
  <p:cmAuthor id="53" name="Julian Blum" initials="JB [7]" lastIdx="1" clrIdx="47"/>
  <p:cmAuthor id="54" name="Julian Blum" initials="JB [8]" lastIdx="1" clrIdx="48"/>
  <p:cmAuthor id="55" name="Julian Blum" initials="JB [9]" lastIdx="1" clrIdx="49"/>
  <p:cmAuthor id="56" name="Julian Blum" initials="JB [10]" lastIdx="1" clrIdx="50"/>
  <p:cmAuthor id="57" name="Julian Blum" initials="JB [11]" lastIdx="1" clrIdx="51"/>
  <p:cmAuthor id="58" name="Julian Blum" initials="JB [12]" lastIdx="1" clrIdx="52"/>
  <p:cmAuthor id="59" name="Julian Blum" initials="JB [13]" lastIdx="1" clrIdx="53"/>
  <p:cmAuthor id="60" name="Julian Blum" initials="JB [14]" lastIdx="1" clrIdx="54"/>
  <p:cmAuthor id="61" name="Julian Blum" initials="JB [15]" lastIdx="1" clrIdx="55"/>
  <p:cmAuthor id="62" name="Julian Blum" initials="JB [16]" lastIdx="1" clrIdx="56"/>
  <p:cmAuthor id="63" name="Julian Blum" initials="JB [17]" lastIdx="1" clrIdx="57"/>
  <p:cmAuthor id="64" name="Julian Blum" initials="JB [18]" lastIdx="1" clrIdx="58"/>
  <p:cmAuthor id="65" name="Julian Blum" initials="JB [19]" lastIdx="1" clrIdx="59"/>
  <p:cmAuthor id="66" name="Julian Blum" initials="JB [20]" lastIdx="1" clrIdx="60"/>
  <p:cmAuthor id="67" name="Julian Blum" initials="JB [21]" lastIdx="1" clrIdx="61"/>
  <p:cmAuthor id="68" name="Julian Blum" initials="JB [22]" lastIdx="1" clrIdx="62"/>
  <p:cmAuthor id="69" name="Julian Blum" initials="JB [23]" lastIdx="1" clrIdx="63"/>
  <p:cmAuthor id="70" name="Julian Blum" initials="JB [24]" lastIdx="1" clrIdx="64"/>
  <p:cmAuthor id="71" name="Julian Blum" initials="JB [25]" lastIdx="1" clrIdx="65"/>
  <p:cmAuthor id="72" name="Marius Jürgensen" initials="MJ" lastIdx="77" clrIdx="66"/>
  <p:cmAuthor id="73" name="Nico Schoenenberger" initials="NS" lastIdx="248" clrIdx="67"/>
  <p:cmAuthor id="74" name="Nico Schoenenberger" initials="NS [2]" lastIdx="1" clrIdx="68"/>
  <p:cmAuthor id="75" name="Nico Schoenenberger" initials="NS [3]" lastIdx="1" clrIdx="69"/>
  <p:cmAuthor id="76" name="Nico Schoenenberger" initials="NS [4]" lastIdx="1" clrIdx="70"/>
  <p:cmAuthor id="77" name="Nico Schoenenberger" initials="NS [5]" lastIdx="1" clrIdx="71"/>
  <p:cmAuthor id="78" name="Nico Schoenenberger" initials="NS [6]" lastIdx="1" clrIdx="72"/>
  <p:cmAuthor id="79" name="Nico Schoenenberger" initials="NS [7]" lastIdx="1" clrIdx="73"/>
  <p:cmAuthor id="80" name="Nico Schoenenberger" initials="NS [8]" lastIdx="1" clrIdx="74"/>
  <p:cmAuthor id="81" name="Nico Schoenenberger" initials="NS [9]" lastIdx="1" clrIdx="75"/>
  <p:cmAuthor id="82" name="Nico Schoenenberger" initials="NS [10]" lastIdx="1" clrIdx="76"/>
  <p:cmAuthor id="83" name="Nico Schoenenberger" initials="NS [11]" lastIdx="1" clrIdx="77"/>
  <p:cmAuthor id="84" name="Nico Schoenenberger" initials="NS [12]" lastIdx="1" clrIdx="78"/>
  <p:cmAuthor id="85" name="Nico Schoenenberger" initials="NS [13]" lastIdx="1" clrIdx="79"/>
  <p:cmAuthor id="86" name="Nico Schoenenberger" initials="NS [14]" lastIdx="1" clrIdx="80"/>
  <p:cmAuthor id="87" name="Nico Schoenenberger" initials="NS [15]" lastIdx="1" clrIdx="81"/>
  <p:cmAuthor id="88" name="Nico Schoenenberger" initials="NS [16]" lastIdx="1" clrIdx="82"/>
  <p:cmAuthor id="89" name="Nico Schoenenberger" initials="NS [17]" lastIdx="1" clrIdx="83"/>
  <p:cmAuthor id="90" name="Nico Schoenenberger" initials="NS [18]" lastIdx="1" clrIdx="84"/>
  <p:cmAuthor id="91" name="Nico Schoenenberger" initials="NS [19]" lastIdx="1" clrIdx="85"/>
  <p:cmAuthor id="92" name="Nico Schoenenberger" initials="NS [20]" lastIdx="1" clrIdx="86"/>
  <p:cmAuthor id="93" name="Nico Schoenenberger" initials="NS [21]" lastIdx="1" clrIdx="87"/>
  <p:cmAuthor id="94" name="Nico Schoenenberger" initials="NS [22]" lastIdx="1" clrIdx="88"/>
  <p:cmAuthor id="95" name="Nico Schoenenberger" initials="NS [23]" lastIdx="1" clrIdx="89"/>
  <p:cmAuthor id="96" name="Nico Schoenenberger" initials="NS [24]" lastIdx="1" clrIdx="90"/>
  <p:cmAuthor id="97" name="Nico Schoenenberger" initials="NS [25]" lastIdx="1" clrIdx="91"/>
  <p:cmAuthor id="98" name="Nico Schoenenberger" initials="NS [26]" lastIdx="1" clrIdx="92"/>
  <p:cmAuthor id="99" name="Nico Schoenenberger" initials="NS [27]" lastIdx="1" clrIdx="93"/>
  <p:cmAuthor id="100" name="Nico Schoenenberger" initials="NS [28]" lastIdx="1" clrIdx="94"/>
  <p:cmAuthor id="101" name="Nico Schoenenberger" initials="NS [29]" lastIdx="1" clrIdx="95"/>
  <p:cmAuthor id="102" name="Nico Schoenenberger" initials="NS [30]" lastIdx="1" clrIdx="96"/>
  <p:cmAuthor id="103" name="Nico Schoenenberger" initials="NS [31]" lastIdx="1" clrIdx="97"/>
  <p:cmAuthor id="104" name="Nico Schoenenberger" initials="NS [32]" lastIdx="1" clrIdx="98"/>
  <p:cmAuthor id="105" name="Nico Schoenenberger" initials="NS [33]" lastIdx="1" clrIdx="99"/>
  <p:cmAuthor id="106" name="Kento Akiyama" initials="KA" lastIdx="41" clrIdx="100"/>
  <p:cmAuthor id="107" name="Johannes Nyari" initials="JN" lastIdx="24" clrIdx="101"/>
  <p:cmAuthor id="110" name="ga46kog" initials="g [3]" lastIdx="1" clrIdx="102"/>
  <p:cmAuthor id="111" name="ga46kog" initials="g" lastIdx="16" clrIdx="103"/>
  <p:cmAuthor id="112" name="ga46kog" initials="g [2]" lastIdx="1" clrIdx="104"/>
  <p:cmAuthor id="113" name="ga46kog" initials="g [4]" lastIdx="1" clrIdx="105"/>
  <p:cmAuthor id="114" name="ga46kog" initials="g [5]" lastIdx="1" clrIdx="107"/>
  <p:cmAuthor id="116" name="ga46kog" initials="g [7]" lastIdx="1" clrIdx="109"/>
  <p:cmAuthor id="117" name="ga46kog" initials="g [8]" lastIdx="1" clrIdx="110"/>
  <p:cmAuthor id="122" name="ga46kog" initials="g [13]" lastIdx="1" clrIdx="111"/>
  <p:cmAuthor id="124" name="ga46kog" initials="g [15]" lastIdx="1" clrIdx="112"/>
  <p:cmAuthor id="127" name="ga46kog" initials="g [18]" lastIdx="1" clrIdx="113"/>
  <p:cmAuthor id="129" name="ga46kog" initials="g [20]" lastIdx="1" clrIdx="114"/>
  <p:cmAuthor id="130" name="ga46kog" initials="g [21]" lastIdx="1" clrIdx="115"/>
  <p:cmAuthor id="131" name="ga46kog" initials="g [22]" lastIdx="1" clrIdx="116"/>
  <p:cmAuthor id="132" name="ga46kog" initials="g [23]" lastIdx="1" clrIdx="117"/>
  <p:cmAuthor id="133" name="ga46kog" initials="g [24]" lastIdx="1" clrIdx="118"/>
  <p:cmAuthor id="134" name="ga46kog" initials="g [25]" lastIdx="1" clrIdx="119"/>
  <p:cmAuthor id="135" name="ga46kog" initials="g [26]" lastIdx="1" clrIdx="120"/>
  <p:cmAuthor id="136" name="ga46kog" initials="g [27]" lastIdx="1" clrIdx="121"/>
  <p:cmAuthor id="145" name="ga46kog" initials="g [36]" lastIdx="1" clrIdx="122"/>
  <p:cmAuthor id="146" name="ga46kog" initials="g [37]" lastIdx="1" clrIdx="123"/>
  <p:cmAuthor id="147" name="ga46kog" initials="g [38]" lastIdx="1" clrIdx="124"/>
  <p:cmAuthor id="148" name="ga46kog" initials="g [39]" lastIdx="1" clrIdx="12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FF"/>
    <a:srgbClr val="2F70B3"/>
    <a:srgbClr val="00EC21"/>
    <a:srgbClr val="FD9A00"/>
    <a:srgbClr val="E1F9E3"/>
    <a:srgbClr val="EAEFF2"/>
    <a:srgbClr val="F7FBFB"/>
    <a:srgbClr val="D4D7D7"/>
    <a:srgbClr val="FFFCEC"/>
    <a:srgbClr val="FFCB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05"/>
    <p:restoredTop sz="90891"/>
  </p:normalViewPr>
  <p:slideViewPr>
    <p:cSldViewPr snapToGrid="0">
      <p:cViewPr>
        <p:scale>
          <a:sx n="103" d="100"/>
          <a:sy n="103" d="100"/>
        </p:scale>
        <p:origin x="344" y="4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D8CC01-135E-AD4C-8755-A37B3659E7A5}" type="datetimeFigureOut">
              <a:rPr lang="de-DE" smtClean="0"/>
              <a:t>10.07.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9A72C-891D-E640-A080-D7A5210196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21390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5B9191-00B2-4CB6-BD98-D356134D0834}" type="datetimeFigureOut">
              <a:rPr lang="en-US" smtClean="0"/>
              <a:t>7/10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B1792-FFED-437C-B8B9-B59E7C666B5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932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086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2078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494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1644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811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610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9B1792-FFED-437C-B8B9-B59E7C666B5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86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56701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8D1FED-642F-4746-8CD1-7A693F8EBE5E}"/>
              </a:ext>
            </a:extLst>
          </p:cNvPr>
          <p:cNvSpPr/>
          <p:nvPr userDrawn="1"/>
        </p:nvSpPr>
        <p:spPr>
          <a:xfrm>
            <a:off x="11745502" y="0"/>
            <a:ext cx="4465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1A9086EC-BEE0-2E46-88E9-CDAB5B1B6B0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42661"/>
            <a:ext cx="12191998" cy="3981924"/>
          </a:xfrm>
          <a:prstGeom prst="rect">
            <a:avLst/>
          </a:prstGeom>
          <a:blipFill>
            <a:blip r:embed="rId6"/>
            <a:stretch>
              <a:fillRect b="54"/>
            </a:stretch>
          </a:blipFill>
        </p:spPr>
        <p:txBody>
          <a:bodyPr/>
          <a:lstStyle>
            <a:lvl1pPr marL="0" indent="0">
              <a:buNone/>
              <a:defRPr sz="1200">
                <a:highlight>
                  <a:srgbClr val="FFFF00"/>
                </a:highlight>
              </a:defRPr>
            </a:lvl1pPr>
          </a:lstStyle>
          <a:p>
            <a:r>
              <a:rPr lang="de-DE"/>
              <a:t>Platzhalter für Bild</a:t>
            </a:r>
          </a:p>
        </p:txBody>
      </p:sp>
      <p:cxnSp>
        <p:nvCxnSpPr>
          <p:cNvPr id="31" name="Straight Connector 14">
            <a:extLst>
              <a:ext uri="{FF2B5EF4-FFF2-40B4-BE49-F238E27FC236}">
                <a16:creationId xmlns:a16="http://schemas.microsoft.com/office/drawing/2014/main" id="{591546B5-6FBE-46A7-8974-E7DBECC904E7}"/>
              </a:ext>
            </a:extLst>
          </p:cNvPr>
          <p:cNvCxnSpPr>
            <a:cxnSpLocks/>
          </p:cNvCxnSpPr>
          <p:nvPr userDrawn="1"/>
        </p:nvCxnSpPr>
        <p:spPr>
          <a:xfrm>
            <a:off x="7793196" y="4808292"/>
            <a:ext cx="0" cy="1441114"/>
          </a:xfrm>
          <a:prstGeom prst="line">
            <a:avLst/>
          </a:prstGeom>
          <a:ln>
            <a:solidFill>
              <a:srgbClr val="2F70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0C3DA78B-3859-334F-AFA0-CC32AEC7E85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-37204" y="1596418"/>
            <a:ext cx="7640271" cy="1012614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5912" h="1170038">
                <a:moveTo>
                  <a:pt x="0" y="1112451"/>
                </a:moveTo>
                <a:cubicBezTo>
                  <a:pt x="1164" y="761768"/>
                  <a:pt x="2327" y="411084"/>
                  <a:pt x="3491" y="60401"/>
                </a:cubicBezTo>
                <a:lnTo>
                  <a:pt x="4613131" y="0"/>
                </a:lnTo>
                <a:lnTo>
                  <a:pt x="5475912" y="1170038"/>
                </a:lnTo>
                <a:lnTo>
                  <a:pt x="0" y="11124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51999" tIns="180000" rIns="540000" bIns="180000" anchor="ctr"/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677DA8F-A726-4543-9719-EF53B1BBD4FF}"/>
              </a:ext>
            </a:extLst>
          </p:cNvPr>
          <p:cNvCxnSpPr/>
          <p:nvPr userDrawn="1"/>
        </p:nvCxnSpPr>
        <p:spPr>
          <a:xfrm>
            <a:off x="7793196" y="4587063"/>
            <a:ext cx="0" cy="1735138"/>
          </a:xfrm>
          <a:prstGeom prst="line">
            <a:avLst/>
          </a:prstGeom>
          <a:ln w="9525">
            <a:solidFill>
              <a:srgbClr val="2F70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AEF9E6B6-D8D7-4949-A5D0-BA2F7F90737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889296" y="2487065"/>
            <a:ext cx="6117614" cy="660285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052051 h 1120877"/>
              <a:gd name="connsiteX1" fmla="*/ 51620 w 5543293"/>
              <a:gd name="connsiteY1" fmla="*/ 0 h 1120877"/>
              <a:gd name="connsiteX2" fmla="*/ 4778835 w 5543293"/>
              <a:gd name="connsiteY2" fmla="*/ 39329 h 1120877"/>
              <a:gd name="connsiteX3" fmla="*/ 5543293 w 5543293"/>
              <a:gd name="connsiteY3" fmla="*/ 1120877 h 1120877"/>
              <a:gd name="connsiteX4" fmla="*/ 0 w 5543293"/>
              <a:gd name="connsiteY4" fmla="*/ 1052051 h 1120877"/>
              <a:gd name="connsiteX0" fmla="*/ 0 w 5258157"/>
              <a:gd name="connsiteY0" fmla="*/ 1052051 h 1052051"/>
              <a:gd name="connsiteX1" fmla="*/ 51620 w 5258157"/>
              <a:gd name="connsiteY1" fmla="*/ 0 h 1052051"/>
              <a:gd name="connsiteX2" fmla="*/ 4778835 w 5258157"/>
              <a:gd name="connsiteY2" fmla="*/ 39329 h 1052051"/>
              <a:gd name="connsiteX3" fmla="*/ 5258157 w 5258157"/>
              <a:gd name="connsiteY3" fmla="*/ 875071 h 1052051"/>
              <a:gd name="connsiteX4" fmla="*/ 0 w 5258157"/>
              <a:gd name="connsiteY4" fmla="*/ 1052051 h 1052051"/>
              <a:gd name="connsiteX0" fmla="*/ 17206 w 5206537"/>
              <a:gd name="connsiteY0" fmla="*/ 894735 h 894735"/>
              <a:gd name="connsiteX1" fmla="*/ 0 w 5206537"/>
              <a:gd name="connsiteY1" fmla="*/ 0 h 894735"/>
              <a:gd name="connsiteX2" fmla="*/ 4727215 w 5206537"/>
              <a:gd name="connsiteY2" fmla="*/ 39329 h 894735"/>
              <a:gd name="connsiteX3" fmla="*/ 5206537 w 5206537"/>
              <a:gd name="connsiteY3" fmla="*/ 875071 h 894735"/>
              <a:gd name="connsiteX4" fmla="*/ 17206 w 5206537"/>
              <a:gd name="connsiteY4" fmla="*/ 894735 h 894735"/>
              <a:gd name="connsiteX0" fmla="*/ 66367 w 5255698"/>
              <a:gd name="connsiteY0" fmla="*/ 875070 h 875070"/>
              <a:gd name="connsiteX1" fmla="*/ 0 w 5255698"/>
              <a:gd name="connsiteY1" fmla="*/ 0 h 875070"/>
              <a:gd name="connsiteX2" fmla="*/ 4776376 w 5255698"/>
              <a:gd name="connsiteY2" fmla="*/ 19664 h 875070"/>
              <a:gd name="connsiteX3" fmla="*/ 5255698 w 5255698"/>
              <a:gd name="connsiteY3" fmla="*/ 855406 h 875070"/>
              <a:gd name="connsiteX4" fmla="*/ 66367 w 5255698"/>
              <a:gd name="connsiteY4" fmla="*/ 875070 h 875070"/>
              <a:gd name="connsiteX0" fmla="*/ 17205 w 5206536"/>
              <a:gd name="connsiteY0" fmla="*/ 904567 h 904567"/>
              <a:gd name="connsiteX1" fmla="*/ 0 w 5206536"/>
              <a:gd name="connsiteY1" fmla="*/ 0 h 904567"/>
              <a:gd name="connsiteX2" fmla="*/ 4727214 w 5206536"/>
              <a:gd name="connsiteY2" fmla="*/ 49161 h 904567"/>
              <a:gd name="connsiteX3" fmla="*/ 5206536 w 5206536"/>
              <a:gd name="connsiteY3" fmla="*/ 884903 h 904567"/>
              <a:gd name="connsiteX4" fmla="*/ 17205 w 5206536"/>
              <a:gd name="connsiteY4" fmla="*/ 904567 h 904567"/>
              <a:gd name="connsiteX0" fmla="*/ 0 w 5189331"/>
              <a:gd name="connsiteY0" fmla="*/ 855406 h 855406"/>
              <a:gd name="connsiteX1" fmla="*/ 22124 w 5189331"/>
              <a:gd name="connsiteY1" fmla="*/ 19665 h 855406"/>
              <a:gd name="connsiteX2" fmla="*/ 4710009 w 5189331"/>
              <a:gd name="connsiteY2" fmla="*/ 0 h 855406"/>
              <a:gd name="connsiteX3" fmla="*/ 5189331 w 5189331"/>
              <a:gd name="connsiteY3" fmla="*/ 835742 h 855406"/>
              <a:gd name="connsiteX4" fmla="*/ 0 w 5189331"/>
              <a:gd name="connsiteY4" fmla="*/ 855406 h 855406"/>
              <a:gd name="connsiteX0" fmla="*/ 587476 w 5167207"/>
              <a:gd name="connsiteY0" fmla="*/ 931475 h 931475"/>
              <a:gd name="connsiteX1" fmla="*/ 0 w 5167207"/>
              <a:gd name="connsiteY1" fmla="*/ 19665 h 931475"/>
              <a:gd name="connsiteX2" fmla="*/ 4687885 w 5167207"/>
              <a:gd name="connsiteY2" fmla="*/ 0 h 931475"/>
              <a:gd name="connsiteX3" fmla="*/ 5167207 w 5167207"/>
              <a:gd name="connsiteY3" fmla="*/ 835742 h 931475"/>
              <a:gd name="connsiteX4" fmla="*/ 587476 w 5167207"/>
              <a:gd name="connsiteY4" fmla="*/ 931475 h 931475"/>
              <a:gd name="connsiteX0" fmla="*/ 361334 w 4941065"/>
              <a:gd name="connsiteY0" fmla="*/ 955279 h 955279"/>
              <a:gd name="connsiteX1" fmla="*/ 0 w 4941065"/>
              <a:gd name="connsiteY1" fmla="*/ 0 h 955279"/>
              <a:gd name="connsiteX2" fmla="*/ 4461743 w 4941065"/>
              <a:gd name="connsiteY2" fmla="*/ 23804 h 955279"/>
              <a:gd name="connsiteX3" fmla="*/ 4941065 w 4941065"/>
              <a:gd name="connsiteY3" fmla="*/ 859546 h 955279"/>
              <a:gd name="connsiteX4" fmla="*/ 361334 w 4941065"/>
              <a:gd name="connsiteY4" fmla="*/ 955279 h 955279"/>
              <a:gd name="connsiteX0" fmla="*/ 361334 w 4970561"/>
              <a:gd name="connsiteY0" fmla="*/ 955279 h 968218"/>
              <a:gd name="connsiteX1" fmla="*/ 0 w 4970561"/>
              <a:gd name="connsiteY1" fmla="*/ 0 h 968218"/>
              <a:gd name="connsiteX2" fmla="*/ 4461743 w 4970561"/>
              <a:gd name="connsiteY2" fmla="*/ 23804 h 968218"/>
              <a:gd name="connsiteX3" fmla="*/ 4970561 w 4970561"/>
              <a:gd name="connsiteY3" fmla="*/ 968218 h 968218"/>
              <a:gd name="connsiteX4" fmla="*/ 361334 w 4970561"/>
              <a:gd name="connsiteY4" fmla="*/ 955279 h 968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0561" h="968218">
                <a:moveTo>
                  <a:pt x="361334" y="955279"/>
                </a:moveTo>
                <a:lnTo>
                  <a:pt x="0" y="0"/>
                </a:lnTo>
                <a:lnTo>
                  <a:pt x="4461743" y="23804"/>
                </a:lnTo>
                <a:lnTo>
                  <a:pt x="4970561" y="968218"/>
                </a:lnTo>
                <a:lnTo>
                  <a:pt x="361334" y="955279"/>
                </a:lnTo>
                <a:close/>
              </a:path>
            </a:pathLst>
          </a:custGeom>
          <a:solidFill>
            <a:srgbClr val="AF0E0D"/>
          </a:solidFill>
        </p:spPr>
        <p:txBody>
          <a:bodyPr lIns="360000" tIns="180000" rIns="432000" bIns="180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E0F126E-675D-EA43-B228-3771E3E509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60814" y="4587066"/>
            <a:ext cx="3884688" cy="14411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/>
            </a:lvl1pPr>
          </a:lstStyle>
          <a:p>
            <a:pPr lvl="0"/>
            <a:r>
              <a:rPr lang="de-DE" b="0"/>
              <a:t>Leo Löwe | Projektleiter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F4D7FBC-46C0-9648-A272-5A26BCD2C1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60814" y="6066991"/>
            <a:ext cx="3884688" cy="2552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/>
            </a:lvl1pPr>
          </a:lstStyle>
          <a:p>
            <a:pPr lvl="0"/>
            <a:fld id="{9CBE812B-5AB0-CD4B-A9FD-3AF9A5BF1FD4}" type="datetime2">
              <a:rPr lang="de-DE" smtClean="0"/>
              <a:t>Donnerstag, 16. Mai 2019</a:t>
            </a:fld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1BF5F3A-28B0-414D-8A6E-3AE29CFDA21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53975" y="2714998"/>
            <a:ext cx="3360215" cy="286232"/>
          </a:xfrm>
        </p:spPr>
        <p:txBody>
          <a:bodyPr wrap="none" anchor="ctr">
            <a:noAutofit/>
          </a:bodyPr>
          <a:lstStyle>
            <a:lvl1pPr>
              <a:defRPr kumimoji="0" lang="de-DE" sz="14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>
                <a:srgbClr val="993333"/>
              </a:buClr>
              <a:buSzTx/>
              <a:buFontTx/>
              <a:buNone/>
              <a:tabLst/>
            </a:pPr>
            <a:r>
              <a:rPr lang="de-DE"/>
              <a:t> </a:t>
            </a:r>
          </a:p>
        </p:txBody>
      </p:sp>
      <p:sp>
        <p:nvSpPr>
          <p:cNvPr id="30" name="Textplatzhalter 28">
            <a:extLst>
              <a:ext uri="{FF2B5EF4-FFF2-40B4-BE49-F238E27FC236}">
                <a16:creationId xmlns:a16="http://schemas.microsoft.com/office/drawing/2014/main" id="{AC8DE7A9-AA16-43B3-9049-5A2466612F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1110" y="1595621"/>
            <a:ext cx="5881254" cy="1012614"/>
          </a:xfrm>
          <a:noFill/>
        </p:spPr>
        <p:txBody>
          <a:bodyPr wrap="square" rtlCol="0" anchor="ctr">
            <a:noAutofit/>
          </a:bodyPr>
          <a:lstStyle>
            <a:lvl1pPr>
              <a:buFontTx/>
              <a:buNone/>
              <a:defRPr kumimoji="0" lang="de-DE" sz="20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[Projekttitel]</a:t>
            </a:r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DFBF9A59-BC32-4043-BE77-930B671B2AF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086521" y="2569420"/>
            <a:ext cx="1519068" cy="512638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311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908">
          <p15:clr>
            <a:srgbClr val="FBAE40"/>
          </p15:clr>
        </p15:guide>
        <p15:guide id="3" orient="horz" pos="386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vorstellung_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5916103" y="1395288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20058" y="1552564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0058" y="2105496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530256" y="1392086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0% stellen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5905682" y="1388240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420058" y="1822795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38">
            <a:extLst>
              <a:ext uri="{FF2B5EF4-FFF2-40B4-BE49-F238E27FC236}">
                <a16:creationId xmlns:a16="http://schemas.microsoft.com/office/drawing/2014/main" id="{1CC9CB99-457B-1445-99D8-E108C4DB45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35344" y="1557661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  <a:p>
            <a:pPr marL="0" lvl="0" indent="0">
              <a:buNone/>
            </a:pPr>
            <a:endParaRPr lang="de-DE"/>
          </a:p>
        </p:txBody>
      </p:sp>
      <p:sp>
        <p:nvSpPr>
          <p:cNvPr id="10" name="Bildplatzhalter 38">
            <a:extLst>
              <a:ext uri="{FF2B5EF4-FFF2-40B4-BE49-F238E27FC236}">
                <a16:creationId xmlns:a16="http://schemas.microsoft.com/office/drawing/2014/main" id="{859873C6-E627-E048-B231-83834940485C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028256" y="1557661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Controll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6" name="Bildplatzhalter 38">
            <a:extLst>
              <a:ext uri="{FF2B5EF4-FFF2-40B4-BE49-F238E27FC236}">
                <a16:creationId xmlns:a16="http://schemas.microsoft.com/office/drawing/2014/main" id="{D9661C9B-BA9C-C649-879F-685853BAC35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2432" y="1557661"/>
            <a:ext cx="1993938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leit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</p:spTree>
    <p:extLst>
      <p:ext uri="{BB962C8B-B14F-4D97-AF65-F5344CB8AC3E}">
        <p14:creationId xmlns:p14="http://schemas.microsoft.com/office/powerpoint/2010/main" val="1651783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amvorstellung_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4894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40" name="Bildplatzhalter 38">
            <a:extLst>
              <a:ext uri="{FF2B5EF4-FFF2-40B4-BE49-F238E27FC236}">
                <a16:creationId xmlns:a16="http://schemas.microsoft.com/office/drawing/2014/main" id="{A7FD2929-C441-5648-858E-650520C6142E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837424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41" name="Bildplatzhalter 38">
            <a:extLst>
              <a:ext uri="{FF2B5EF4-FFF2-40B4-BE49-F238E27FC236}">
                <a16:creationId xmlns:a16="http://schemas.microsoft.com/office/drawing/2014/main" id="{5B4E0205-868E-E14E-9854-752B81F92400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5069954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42" name="Bildplatzhalter 38">
            <a:extLst>
              <a:ext uri="{FF2B5EF4-FFF2-40B4-BE49-F238E27FC236}">
                <a16:creationId xmlns:a16="http://schemas.microsoft.com/office/drawing/2014/main" id="{4F57CCE1-2837-F145-A576-3BF5F89C7FF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7302484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43" name="Bildplatzhalter 38">
            <a:extLst>
              <a:ext uri="{FF2B5EF4-FFF2-40B4-BE49-F238E27FC236}">
                <a16:creationId xmlns:a16="http://schemas.microsoft.com/office/drawing/2014/main" id="{A757B86E-27A8-E847-8FA4-254A6AEB37ED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9535015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58" name="Content Placeholder 5">
            <a:extLst>
              <a:ext uri="{FF2B5EF4-FFF2-40B4-BE49-F238E27FC236}">
                <a16:creationId xmlns:a16="http://schemas.microsoft.com/office/drawing/2014/main" id="{BC0BF6B4-7AE0-174C-B1C6-AA77AC759BDD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505560" y="3002181"/>
            <a:ext cx="1988457" cy="558259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  <a:gd name="connsiteX0" fmla="*/ 0 w 5475912"/>
              <a:gd name="connsiteY0" fmla="*/ 1052050 h 1109637"/>
              <a:gd name="connsiteX1" fmla="*/ 3491 w 5475912"/>
              <a:gd name="connsiteY1" fmla="*/ 0 h 1109637"/>
              <a:gd name="connsiteX2" fmla="*/ 5281878 w 5475912"/>
              <a:gd name="connsiteY2" fmla="*/ 90384 h 1109637"/>
              <a:gd name="connsiteX3" fmla="*/ 5475912 w 5475912"/>
              <a:gd name="connsiteY3" fmla="*/ 1109637 h 1109637"/>
              <a:gd name="connsiteX4" fmla="*/ 0 w 5475912"/>
              <a:gd name="connsiteY4" fmla="*/ 1052050 h 1109637"/>
              <a:gd name="connsiteX0" fmla="*/ 0 w 5281878"/>
              <a:gd name="connsiteY0" fmla="*/ 1052050 h 1103082"/>
              <a:gd name="connsiteX1" fmla="*/ 3491 w 5281878"/>
              <a:gd name="connsiteY1" fmla="*/ 0 h 1103082"/>
              <a:gd name="connsiteX2" fmla="*/ 5281878 w 5281878"/>
              <a:gd name="connsiteY2" fmla="*/ 90384 h 1103082"/>
              <a:gd name="connsiteX3" fmla="*/ 5001707 w 5281878"/>
              <a:gd name="connsiteY3" fmla="*/ 1103082 h 1103082"/>
              <a:gd name="connsiteX4" fmla="*/ 0 w 5281878"/>
              <a:gd name="connsiteY4" fmla="*/ 1052050 h 1103082"/>
              <a:gd name="connsiteX0" fmla="*/ 0 w 5281878"/>
              <a:gd name="connsiteY0" fmla="*/ 961666 h 1012698"/>
              <a:gd name="connsiteX1" fmla="*/ 362650 w 5281878"/>
              <a:gd name="connsiteY1" fmla="*/ 11052 h 1012698"/>
              <a:gd name="connsiteX2" fmla="*/ 5281878 w 5281878"/>
              <a:gd name="connsiteY2" fmla="*/ 0 h 1012698"/>
              <a:gd name="connsiteX3" fmla="*/ 5001707 w 5281878"/>
              <a:gd name="connsiteY3" fmla="*/ 1012698 h 1012698"/>
              <a:gd name="connsiteX4" fmla="*/ 0 w 5281878"/>
              <a:gd name="connsiteY4" fmla="*/ 961666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85688 w 5179262"/>
              <a:gd name="connsiteY1" fmla="*/ 15663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9262" h="1012698">
                <a:moveTo>
                  <a:pt x="0" y="1012384"/>
                </a:moveTo>
                <a:cubicBezTo>
                  <a:pt x="69574" y="666313"/>
                  <a:pt x="199011" y="380179"/>
                  <a:pt x="285688" y="15663"/>
                </a:cubicBezTo>
                <a:lnTo>
                  <a:pt x="5179262" y="0"/>
                </a:lnTo>
                <a:lnTo>
                  <a:pt x="4899091" y="1012698"/>
                </a:lnTo>
                <a:lnTo>
                  <a:pt x="0" y="1012384"/>
                </a:lnTo>
                <a:close/>
              </a:path>
            </a:pathLst>
          </a:custGeom>
          <a:solidFill>
            <a:schemeClr val="bg2">
              <a:alpha val="80000"/>
            </a:schemeClr>
          </a:solidFill>
        </p:spPr>
        <p:txBody>
          <a:bodyPr lIns="251999" tIns="180000" rIns="576000" bIns="180000" anchor="ctr">
            <a:normAutofit/>
          </a:bodyPr>
          <a:lstStyle>
            <a:lvl1pPr marL="0" indent="0">
              <a:buNone/>
              <a:defRPr sz="5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2160000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427894" y="3708394"/>
            <a:ext cx="2160000" cy="2448040"/>
          </a:xfrm>
          <a:solidFill>
            <a:schemeClr val="bg2"/>
          </a:solidFill>
        </p:spPr>
        <p:txBody>
          <a:bodyPr numCol="1" spcCol="144000">
            <a:noAutofit/>
          </a:bodyPr>
          <a:lstStyle>
            <a:lvl1pPr marL="171450" indent="-171450">
              <a:buFont typeface="Wingdings" pitchFamily="2" charset="2"/>
              <a:buChar char="§"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</a:t>
            </a:r>
          </a:p>
          <a:p>
            <a:pPr lvl="0"/>
            <a:r>
              <a:rPr lang="de-DE"/>
              <a:t>______________________</a:t>
            </a:r>
          </a:p>
          <a:p>
            <a:pPr lvl="0"/>
            <a:r>
              <a:rPr lang="de-DE"/>
              <a:t>____________________________________</a:t>
            </a:r>
          </a:p>
          <a:p>
            <a:pPr lvl="0"/>
            <a:r>
              <a:rPr lang="de-DE"/>
              <a:t>________</a:t>
            </a:r>
          </a:p>
          <a:p>
            <a:pPr lvl="0"/>
            <a:r>
              <a:rPr lang="de-DE"/>
              <a:t>__________________________</a:t>
            </a:r>
          </a:p>
          <a:p>
            <a:pPr lvl="0"/>
            <a:r>
              <a:rPr lang="de-DE"/>
              <a:t>________________</a:t>
            </a: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9331" y="3049393"/>
            <a:ext cx="1729069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</a:t>
            </a:r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09331" y="3342285"/>
            <a:ext cx="1656498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Rol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CF88CB-A53D-4B42-9562-4F1C433EA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80000"/>
          </a:blip>
          <a:srcRect r="88533" b="31810"/>
          <a:stretch/>
        </p:blipFill>
        <p:spPr>
          <a:xfrm>
            <a:off x="427894" y="3007169"/>
            <a:ext cx="264291" cy="553899"/>
          </a:xfrm>
          <a:prstGeom prst="rect">
            <a:avLst/>
          </a:prstGeom>
        </p:spPr>
      </p:pic>
      <p:sp>
        <p:nvSpPr>
          <p:cNvPr id="62" name="Content Placeholder 5">
            <a:extLst>
              <a:ext uri="{FF2B5EF4-FFF2-40B4-BE49-F238E27FC236}">
                <a16:creationId xmlns:a16="http://schemas.microsoft.com/office/drawing/2014/main" id="{6366E81D-A130-D744-9AA0-BD402D8618F8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2746243" y="3002181"/>
            <a:ext cx="1988457" cy="558259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  <a:gd name="connsiteX0" fmla="*/ 0 w 5475912"/>
              <a:gd name="connsiteY0" fmla="*/ 1052050 h 1109637"/>
              <a:gd name="connsiteX1" fmla="*/ 3491 w 5475912"/>
              <a:gd name="connsiteY1" fmla="*/ 0 h 1109637"/>
              <a:gd name="connsiteX2" fmla="*/ 5281878 w 5475912"/>
              <a:gd name="connsiteY2" fmla="*/ 90384 h 1109637"/>
              <a:gd name="connsiteX3" fmla="*/ 5475912 w 5475912"/>
              <a:gd name="connsiteY3" fmla="*/ 1109637 h 1109637"/>
              <a:gd name="connsiteX4" fmla="*/ 0 w 5475912"/>
              <a:gd name="connsiteY4" fmla="*/ 1052050 h 1109637"/>
              <a:gd name="connsiteX0" fmla="*/ 0 w 5281878"/>
              <a:gd name="connsiteY0" fmla="*/ 1052050 h 1103082"/>
              <a:gd name="connsiteX1" fmla="*/ 3491 w 5281878"/>
              <a:gd name="connsiteY1" fmla="*/ 0 h 1103082"/>
              <a:gd name="connsiteX2" fmla="*/ 5281878 w 5281878"/>
              <a:gd name="connsiteY2" fmla="*/ 90384 h 1103082"/>
              <a:gd name="connsiteX3" fmla="*/ 5001707 w 5281878"/>
              <a:gd name="connsiteY3" fmla="*/ 1103082 h 1103082"/>
              <a:gd name="connsiteX4" fmla="*/ 0 w 5281878"/>
              <a:gd name="connsiteY4" fmla="*/ 1052050 h 1103082"/>
              <a:gd name="connsiteX0" fmla="*/ 0 w 5281878"/>
              <a:gd name="connsiteY0" fmla="*/ 961666 h 1012698"/>
              <a:gd name="connsiteX1" fmla="*/ 362650 w 5281878"/>
              <a:gd name="connsiteY1" fmla="*/ 11052 h 1012698"/>
              <a:gd name="connsiteX2" fmla="*/ 5281878 w 5281878"/>
              <a:gd name="connsiteY2" fmla="*/ 0 h 1012698"/>
              <a:gd name="connsiteX3" fmla="*/ 5001707 w 5281878"/>
              <a:gd name="connsiteY3" fmla="*/ 1012698 h 1012698"/>
              <a:gd name="connsiteX4" fmla="*/ 0 w 5281878"/>
              <a:gd name="connsiteY4" fmla="*/ 961666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85688 w 5179262"/>
              <a:gd name="connsiteY1" fmla="*/ 15663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9262" h="1012698">
                <a:moveTo>
                  <a:pt x="0" y="1012384"/>
                </a:moveTo>
                <a:cubicBezTo>
                  <a:pt x="69574" y="666313"/>
                  <a:pt x="199011" y="380179"/>
                  <a:pt x="285688" y="15663"/>
                </a:cubicBezTo>
                <a:lnTo>
                  <a:pt x="5179262" y="0"/>
                </a:lnTo>
                <a:lnTo>
                  <a:pt x="4899091" y="1012698"/>
                </a:lnTo>
                <a:lnTo>
                  <a:pt x="0" y="1012384"/>
                </a:lnTo>
                <a:close/>
              </a:path>
            </a:pathLst>
          </a:custGeom>
          <a:solidFill>
            <a:schemeClr val="bg2">
              <a:alpha val="80000"/>
            </a:schemeClr>
          </a:solidFill>
        </p:spPr>
        <p:txBody>
          <a:bodyPr lIns="251999" tIns="180000" rIns="576000" bIns="180000" anchor="ctr">
            <a:normAutofit/>
          </a:bodyPr>
          <a:lstStyle>
            <a:lvl1pPr marL="0" indent="0">
              <a:buNone/>
              <a:defRPr sz="5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3" name="Textplatzhalter 48">
            <a:extLst>
              <a:ext uri="{FF2B5EF4-FFF2-40B4-BE49-F238E27FC236}">
                <a16:creationId xmlns:a16="http://schemas.microsoft.com/office/drawing/2014/main" id="{BC0F9899-14DB-6346-9420-1EC0A79C063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50014" y="3049393"/>
            <a:ext cx="1729069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</a:t>
            </a:r>
          </a:p>
        </p:txBody>
      </p:sp>
      <p:sp>
        <p:nvSpPr>
          <p:cNvPr id="64" name="Textplatzhalter 48">
            <a:extLst>
              <a:ext uri="{FF2B5EF4-FFF2-40B4-BE49-F238E27FC236}">
                <a16:creationId xmlns:a16="http://schemas.microsoft.com/office/drawing/2014/main" id="{6A40403B-89AB-0E4C-91F1-7E769502983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950014" y="3342285"/>
            <a:ext cx="1656498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Rolle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C1B21D65-733F-7946-B478-B39009F555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80000"/>
          </a:blip>
          <a:srcRect r="88533" b="31810"/>
          <a:stretch/>
        </p:blipFill>
        <p:spPr>
          <a:xfrm>
            <a:off x="2668577" y="3007169"/>
            <a:ext cx="264291" cy="553899"/>
          </a:xfrm>
          <a:prstGeom prst="rect">
            <a:avLst/>
          </a:prstGeom>
        </p:spPr>
      </p:pic>
      <p:sp>
        <p:nvSpPr>
          <p:cNvPr id="66" name="Content Placeholder 5">
            <a:extLst>
              <a:ext uri="{FF2B5EF4-FFF2-40B4-BE49-F238E27FC236}">
                <a16:creationId xmlns:a16="http://schemas.microsoft.com/office/drawing/2014/main" id="{B587D3B4-BB62-7F43-B515-144414647198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4986926" y="3002181"/>
            <a:ext cx="1988457" cy="558259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  <a:gd name="connsiteX0" fmla="*/ 0 w 5475912"/>
              <a:gd name="connsiteY0" fmla="*/ 1052050 h 1109637"/>
              <a:gd name="connsiteX1" fmla="*/ 3491 w 5475912"/>
              <a:gd name="connsiteY1" fmla="*/ 0 h 1109637"/>
              <a:gd name="connsiteX2" fmla="*/ 5281878 w 5475912"/>
              <a:gd name="connsiteY2" fmla="*/ 90384 h 1109637"/>
              <a:gd name="connsiteX3" fmla="*/ 5475912 w 5475912"/>
              <a:gd name="connsiteY3" fmla="*/ 1109637 h 1109637"/>
              <a:gd name="connsiteX4" fmla="*/ 0 w 5475912"/>
              <a:gd name="connsiteY4" fmla="*/ 1052050 h 1109637"/>
              <a:gd name="connsiteX0" fmla="*/ 0 w 5281878"/>
              <a:gd name="connsiteY0" fmla="*/ 1052050 h 1103082"/>
              <a:gd name="connsiteX1" fmla="*/ 3491 w 5281878"/>
              <a:gd name="connsiteY1" fmla="*/ 0 h 1103082"/>
              <a:gd name="connsiteX2" fmla="*/ 5281878 w 5281878"/>
              <a:gd name="connsiteY2" fmla="*/ 90384 h 1103082"/>
              <a:gd name="connsiteX3" fmla="*/ 5001707 w 5281878"/>
              <a:gd name="connsiteY3" fmla="*/ 1103082 h 1103082"/>
              <a:gd name="connsiteX4" fmla="*/ 0 w 5281878"/>
              <a:gd name="connsiteY4" fmla="*/ 1052050 h 1103082"/>
              <a:gd name="connsiteX0" fmla="*/ 0 w 5281878"/>
              <a:gd name="connsiteY0" fmla="*/ 961666 h 1012698"/>
              <a:gd name="connsiteX1" fmla="*/ 362650 w 5281878"/>
              <a:gd name="connsiteY1" fmla="*/ 11052 h 1012698"/>
              <a:gd name="connsiteX2" fmla="*/ 5281878 w 5281878"/>
              <a:gd name="connsiteY2" fmla="*/ 0 h 1012698"/>
              <a:gd name="connsiteX3" fmla="*/ 5001707 w 5281878"/>
              <a:gd name="connsiteY3" fmla="*/ 1012698 h 1012698"/>
              <a:gd name="connsiteX4" fmla="*/ 0 w 5281878"/>
              <a:gd name="connsiteY4" fmla="*/ 961666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85688 w 5179262"/>
              <a:gd name="connsiteY1" fmla="*/ 15663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9262" h="1012698">
                <a:moveTo>
                  <a:pt x="0" y="1012384"/>
                </a:moveTo>
                <a:cubicBezTo>
                  <a:pt x="69574" y="666313"/>
                  <a:pt x="199011" y="380179"/>
                  <a:pt x="285688" y="15663"/>
                </a:cubicBezTo>
                <a:lnTo>
                  <a:pt x="5179262" y="0"/>
                </a:lnTo>
                <a:lnTo>
                  <a:pt x="4899091" y="1012698"/>
                </a:lnTo>
                <a:lnTo>
                  <a:pt x="0" y="1012384"/>
                </a:lnTo>
                <a:close/>
              </a:path>
            </a:pathLst>
          </a:custGeom>
          <a:solidFill>
            <a:schemeClr val="bg2">
              <a:alpha val="80000"/>
            </a:schemeClr>
          </a:solidFill>
        </p:spPr>
        <p:txBody>
          <a:bodyPr lIns="251999" tIns="180000" rIns="576000" bIns="180000" anchor="ctr">
            <a:normAutofit/>
          </a:bodyPr>
          <a:lstStyle>
            <a:lvl1pPr marL="0" indent="0">
              <a:buNone/>
              <a:defRPr sz="5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67" name="Textplatzhalter 48">
            <a:extLst>
              <a:ext uri="{FF2B5EF4-FFF2-40B4-BE49-F238E27FC236}">
                <a16:creationId xmlns:a16="http://schemas.microsoft.com/office/drawing/2014/main" id="{D1AFE186-8C15-B340-A133-DCFFE46F7F2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90697" y="3049393"/>
            <a:ext cx="1729069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</a:t>
            </a:r>
          </a:p>
        </p:txBody>
      </p:sp>
      <p:sp>
        <p:nvSpPr>
          <p:cNvPr id="68" name="Textplatzhalter 48">
            <a:extLst>
              <a:ext uri="{FF2B5EF4-FFF2-40B4-BE49-F238E27FC236}">
                <a16:creationId xmlns:a16="http://schemas.microsoft.com/office/drawing/2014/main" id="{6F921214-35C9-644C-BCD8-6AC9216BDC2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90697" y="3342285"/>
            <a:ext cx="1656498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Rolle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972368E0-6325-3944-A1F2-DF1F10251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80000"/>
          </a:blip>
          <a:srcRect r="88533" b="31810"/>
          <a:stretch/>
        </p:blipFill>
        <p:spPr>
          <a:xfrm>
            <a:off x="4909260" y="3007169"/>
            <a:ext cx="264291" cy="553899"/>
          </a:xfrm>
          <a:prstGeom prst="rect">
            <a:avLst/>
          </a:prstGeom>
        </p:spPr>
      </p:pic>
      <p:sp>
        <p:nvSpPr>
          <p:cNvPr id="70" name="Content Placeholder 5">
            <a:extLst>
              <a:ext uri="{FF2B5EF4-FFF2-40B4-BE49-F238E27FC236}">
                <a16:creationId xmlns:a16="http://schemas.microsoft.com/office/drawing/2014/main" id="{834243ED-C2EB-664C-B4B2-8FA2E85DB487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7227609" y="3002181"/>
            <a:ext cx="1988457" cy="558259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  <a:gd name="connsiteX0" fmla="*/ 0 w 5475912"/>
              <a:gd name="connsiteY0" fmla="*/ 1052050 h 1109637"/>
              <a:gd name="connsiteX1" fmla="*/ 3491 w 5475912"/>
              <a:gd name="connsiteY1" fmla="*/ 0 h 1109637"/>
              <a:gd name="connsiteX2" fmla="*/ 5281878 w 5475912"/>
              <a:gd name="connsiteY2" fmla="*/ 90384 h 1109637"/>
              <a:gd name="connsiteX3" fmla="*/ 5475912 w 5475912"/>
              <a:gd name="connsiteY3" fmla="*/ 1109637 h 1109637"/>
              <a:gd name="connsiteX4" fmla="*/ 0 w 5475912"/>
              <a:gd name="connsiteY4" fmla="*/ 1052050 h 1109637"/>
              <a:gd name="connsiteX0" fmla="*/ 0 w 5281878"/>
              <a:gd name="connsiteY0" fmla="*/ 1052050 h 1103082"/>
              <a:gd name="connsiteX1" fmla="*/ 3491 w 5281878"/>
              <a:gd name="connsiteY1" fmla="*/ 0 h 1103082"/>
              <a:gd name="connsiteX2" fmla="*/ 5281878 w 5281878"/>
              <a:gd name="connsiteY2" fmla="*/ 90384 h 1103082"/>
              <a:gd name="connsiteX3" fmla="*/ 5001707 w 5281878"/>
              <a:gd name="connsiteY3" fmla="*/ 1103082 h 1103082"/>
              <a:gd name="connsiteX4" fmla="*/ 0 w 5281878"/>
              <a:gd name="connsiteY4" fmla="*/ 1052050 h 1103082"/>
              <a:gd name="connsiteX0" fmla="*/ 0 w 5281878"/>
              <a:gd name="connsiteY0" fmla="*/ 961666 h 1012698"/>
              <a:gd name="connsiteX1" fmla="*/ 362650 w 5281878"/>
              <a:gd name="connsiteY1" fmla="*/ 11052 h 1012698"/>
              <a:gd name="connsiteX2" fmla="*/ 5281878 w 5281878"/>
              <a:gd name="connsiteY2" fmla="*/ 0 h 1012698"/>
              <a:gd name="connsiteX3" fmla="*/ 5001707 w 5281878"/>
              <a:gd name="connsiteY3" fmla="*/ 1012698 h 1012698"/>
              <a:gd name="connsiteX4" fmla="*/ 0 w 5281878"/>
              <a:gd name="connsiteY4" fmla="*/ 961666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85688 w 5179262"/>
              <a:gd name="connsiteY1" fmla="*/ 15663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9262" h="1012698">
                <a:moveTo>
                  <a:pt x="0" y="1012384"/>
                </a:moveTo>
                <a:cubicBezTo>
                  <a:pt x="69574" y="666313"/>
                  <a:pt x="199011" y="380179"/>
                  <a:pt x="285688" y="15663"/>
                </a:cubicBezTo>
                <a:lnTo>
                  <a:pt x="5179262" y="0"/>
                </a:lnTo>
                <a:lnTo>
                  <a:pt x="4899091" y="1012698"/>
                </a:lnTo>
                <a:lnTo>
                  <a:pt x="0" y="1012384"/>
                </a:lnTo>
                <a:close/>
              </a:path>
            </a:pathLst>
          </a:custGeom>
          <a:solidFill>
            <a:schemeClr val="bg2">
              <a:alpha val="80000"/>
            </a:schemeClr>
          </a:solidFill>
        </p:spPr>
        <p:txBody>
          <a:bodyPr lIns="251999" tIns="180000" rIns="576000" bIns="180000" anchor="ctr">
            <a:normAutofit/>
          </a:bodyPr>
          <a:lstStyle>
            <a:lvl1pPr marL="0" indent="0">
              <a:buNone/>
              <a:defRPr sz="5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1" name="Textplatzhalter 48">
            <a:extLst>
              <a:ext uri="{FF2B5EF4-FFF2-40B4-BE49-F238E27FC236}">
                <a16:creationId xmlns:a16="http://schemas.microsoft.com/office/drawing/2014/main" id="{13CCC5BF-7382-0C46-941D-539808623B4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31380" y="3049393"/>
            <a:ext cx="1729069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</a:t>
            </a:r>
          </a:p>
        </p:txBody>
      </p:sp>
      <p:sp>
        <p:nvSpPr>
          <p:cNvPr id="72" name="Textplatzhalter 48">
            <a:extLst>
              <a:ext uri="{FF2B5EF4-FFF2-40B4-BE49-F238E27FC236}">
                <a16:creationId xmlns:a16="http://schemas.microsoft.com/office/drawing/2014/main" id="{A555BEE2-99EB-4B4C-8B74-6F8EDE6433C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431380" y="3342285"/>
            <a:ext cx="1656498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Rolle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13601247-1DA7-F548-A234-67D0F3B18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80000"/>
          </a:blip>
          <a:srcRect r="88533" b="31810"/>
          <a:stretch/>
        </p:blipFill>
        <p:spPr>
          <a:xfrm>
            <a:off x="7149943" y="3007169"/>
            <a:ext cx="264291" cy="553899"/>
          </a:xfrm>
          <a:prstGeom prst="rect">
            <a:avLst/>
          </a:prstGeom>
        </p:spPr>
      </p:pic>
      <p:sp>
        <p:nvSpPr>
          <p:cNvPr id="74" name="Content Placeholder 5">
            <a:extLst>
              <a:ext uri="{FF2B5EF4-FFF2-40B4-BE49-F238E27FC236}">
                <a16:creationId xmlns:a16="http://schemas.microsoft.com/office/drawing/2014/main" id="{81B574E6-A73F-2843-8DBF-E0DF6F65A2D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9445757" y="3002181"/>
            <a:ext cx="1988457" cy="558259"/>
          </a:xfrm>
          <a:custGeom>
            <a:avLst/>
            <a:gdLst>
              <a:gd name="connsiteX0" fmla="*/ 0 w 5388435"/>
              <a:gd name="connsiteY0" fmla="*/ 914400 h 914400"/>
              <a:gd name="connsiteX1" fmla="*/ 228600 w 5388435"/>
              <a:gd name="connsiteY1" fmla="*/ 0 h 914400"/>
              <a:gd name="connsiteX2" fmla="*/ 5388435 w 5388435"/>
              <a:gd name="connsiteY2" fmla="*/ 0 h 914400"/>
              <a:gd name="connsiteX3" fmla="*/ 5159835 w 5388435"/>
              <a:gd name="connsiteY3" fmla="*/ 914400 h 914400"/>
              <a:gd name="connsiteX4" fmla="*/ 0 w 5388435"/>
              <a:gd name="connsiteY4" fmla="*/ 914400 h 914400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5388435 w 5425306"/>
              <a:gd name="connsiteY2" fmla="*/ 0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425306"/>
              <a:gd name="connsiteY0" fmla="*/ 914400 h 2585884"/>
              <a:gd name="connsiteX1" fmla="*/ 228600 w 5425306"/>
              <a:gd name="connsiteY1" fmla="*/ 0 h 2585884"/>
              <a:gd name="connsiteX2" fmla="*/ 4464203 w 5425306"/>
              <a:gd name="connsiteY2" fmla="*/ 1455174 h 2585884"/>
              <a:gd name="connsiteX3" fmla="*/ 5425306 w 5425306"/>
              <a:gd name="connsiteY3" fmla="*/ 2585884 h 2585884"/>
              <a:gd name="connsiteX4" fmla="*/ 0 w 5425306"/>
              <a:gd name="connsiteY4" fmla="*/ 914400 h 2585884"/>
              <a:gd name="connsiteX0" fmla="*/ 0 w 5543293"/>
              <a:gd name="connsiteY0" fmla="*/ 2517058 h 2585884"/>
              <a:gd name="connsiteX1" fmla="*/ 346587 w 5543293"/>
              <a:gd name="connsiteY1" fmla="*/ 0 h 2585884"/>
              <a:gd name="connsiteX2" fmla="*/ 4582190 w 5543293"/>
              <a:gd name="connsiteY2" fmla="*/ 1455174 h 2585884"/>
              <a:gd name="connsiteX3" fmla="*/ 5543293 w 5543293"/>
              <a:gd name="connsiteY3" fmla="*/ 2585884 h 2585884"/>
              <a:gd name="connsiteX4" fmla="*/ 0 w 5543293"/>
              <a:gd name="connsiteY4" fmla="*/ 2517058 h 2585884"/>
              <a:gd name="connsiteX0" fmla="*/ 0 w 5543293"/>
              <a:gd name="connsiteY0" fmla="*/ 1061884 h 1130710"/>
              <a:gd name="connsiteX1" fmla="*/ 51620 w 5543293"/>
              <a:gd name="connsiteY1" fmla="*/ 9833 h 1130710"/>
              <a:gd name="connsiteX2" fmla="*/ 4582190 w 5543293"/>
              <a:gd name="connsiteY2" fmla="*/ 0 h 1130710"/>
              <a:gd name="connsiteX3" fmla="*/ 5543293 w 5543293"/>
              <a:gd name="connsiteY3" fmla="*/ 1130710 h 1130710"/>
              <a:gd name="connsiteX4" fmla="*/ 0 w 5543293"/>
              <a:gd name="connsiteY4" fmla="*/ 1061884 h 1130710"/>
              <a:gd name="connsiteX0" fmla="*/ 0 w 5543293"/>
              <a:gd name="connsiteY0" fmla="*/ 1209367 h 1278193"/>
              <a:gd name="connsiteX1" fmla="*/ 51620 w 5543293"/>
              <a:gd name="connsiteY1" fmla="*/ 157316 h 1278193"/>
              <a:gd name="connsiteX2" fmla="*/ 4710009 w 5543293"/>
              <a:gd name="connsiteY2" fmla="*/ 0 h 1278193"/>
              <a:gd name="connsiteX3" fmla="*/ 5543293 w 5543293"/>
              <a:gd name="connsiteY3" fmla="*/ 1278193 h 1278193"/>
              <a:gd name="connsiteX4" fmla="*/ 0 w 5543293"/>
              <a:gd name="connsiteY4" fmla="*/ 1209367 h 1278193"/>
              <a:gd name="connsiteX0" fmla="*/ 0 w 5543293"/>
              <a:gd name="connsiteY0" fmla="*/ 1101212 h 1170038"/>
              <a:gd name="connsiteX1" fmla="*/ 51620 w 5543293"/>
              <a:gd name="connsiteY1" fmla="*/ 49161 h 1170038"/>
              <a:gd name="connsiteX2" fmla="*/ 4680512 w 5543293"/>
              <a:gd name="connsiteY2" fmla="*/ 0 h 1170038"/>
              <a:gd name="connsiteX3" fmla="*/ 5543293 w 5543293"/>
              <a:gd name="connsiteY3" fmla="*/ 1170038 h 1170038"/>
              <a:gd name="connsiteX4" fmla="*/ 0 w 5543293"/>
              <a:gd name="connsiteY4" fmla="*/ 1101212 h 1170038"/>
              <a:gd name="connsiteX0" fmla="*/ 15761 w 5491673"/>
              <a:gd name="connsiteY0" fmla="*/ 1112451 h 1170038"/>
              <a:gd name="connsiteX1" fmla="*/ 0 w 5491673"/>
              <a:gd name="connsiteY1" fmla="*/ 49161 h 1170038"/>
              <a:gd name="connsiteX2" fmla="*/ 4628892 w 5491673"/>
              <a:gd name="connsiteY2" fmla="*/ 0 h 1170038"/>
              <a:gd name="connsiteX3" fmla="*/ 5491673 w 5491673"/>
              <a:gd name="connsiteY3" fmla="*/ 1170038 h 1170038"/>
              <a:gd name="connsiteX4" fmla="*/ 15761 w 5491673"/>
              <a:gd name="connsiteY4" fmla="*/ 1112451 h 1170038"/>
              <a:gd name="connsiteX0" fmla="*/ 0 w 5475912"/>
              <a:gd name="connsiteY0" fmla="*/ 1112451 h 1170038"/>
              <a:gd name="connsiteX1" fmla="*/ 3491 w 5475912"/>
              <a:gd name="connsiteY1" fmla="*/ 60401 h 1170038"/>
              <a:gd name="connsiteX2" fmla="*/ 4613131 w 5475912"/>
              <a:gd name="connsiteY2" fmla="*/ 0 h 1170038"/>
              <a:gd name="connsiteX3" fmla="*/ 5475912 w 5475912"/>
              <a:gd name="connsiteY3" fmla="*/ 1170038 h 1170038"/>
              <a:gd name="connsiteX4" fmla="*/ 0 w 5475912"/>
              <a:gd name="connsiteY4" fmla="*/ 1112451 h 1170038"/>
              <a:gd name="connsiteX0" fmla="*/ 0 w 5475912"/>
              <a:gd name="connsiteY0" fmla="*/ 1052050 h 1109637"/>
              <a:gd name="connsiteX1" fmla="*/ 3491 w 5475912"/>
              <a:gd name="connsiteY1" fmla="*/ 0 h 1109637"/>
              <a:gd name="connsiteX2" fmla="*/ 5281878 w 5475912"/>
              <a:gd name="connsiteY2" fmla="*/ 90384 h 1109637"/>
              <a:gd name="connsiteX3" fmla="*/ 5475912 w 5475912"/>
              <a:gd name="connsiteY3" fmla="*/ 1109637 h 1109637"/>
              <a:gd name="connsiteX4" fmla="*/ 0 w 5475912"/>
              <a:gd name="connsiteY4" fmla="*/ 1052050 h 1109637"/>
              <a:gd name="connsiteX0" fmla="*/ 0 w 5281878"/>
              <a:gd name="connsiteY0" fmla="*/ 1052050 h 1103082"/>
              <a:gd name="connsiteX1" fmla="*/ 3491 w 5281878"/>
              <a:gd name="connsiteY1" fmla="*/ 0 h 1103082"/>
              <a:gd name="connsiteX2" fmla="*/ 5281878 w 5281878"/>
              <a:gd name="connsiteY2" fmla="*/ 90384 h 1103082"/>
              <a:gd name="connsiteX3" fmla="*/ 5001707 w 5281878"/>
              <a:gd name="connsiteY3" fmla="*/ 1103082 h 1103082"/>
              <a:gd name="connsiteX4" fmla="*/ 0 w 5281878"/>
              <a:gd name="connsiteY4" fmla="*/ 1052050 h 1103082"/>
              <a:gd name="connsiteX0" fmla="*/ 0 w 5281878"/>
              <a:gd name="connsiteY0" fmla="*/ 961666 h 1012698"/>
              <a:gd name="connsiteX1" fmla="*/ 362650 w 5281878"/>
              <a:gd name="connsiteY1" fmla="*/ 11052 h 1012698"/>
              <a:gd name="connsiteX2" fmla="*/ 5281878 w 5281878"/>
              <a:gd name="connsiteY2" fmla="*/ 0 h 1012698"/>
              <a:gd name="connsiteX3" fmla="*/ 5001707 w 5281878"/>
              <a:gd name="connsiteY3" fmla="*/ 1012698 h 1012698"/>
              <a:gd name="connsiteX4" fmla="*/ 0 w 5281878"/>
              <a:gd name="connsiteY4" fmla="*/ 961666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60034 w 5179262"/>
              <a:gd name="connsiteY1" fmla="*/ 11052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  <a:gd name="connsiteX0" fmla="*/ 0 w 5179262"/>
              <a:gd name="connsiteY0" fmla="*/ 1012384 h 1012698"/>
              <a:gd name="connsiteX1" fmla="*/ 285688 w 5179262"/>
              <a:gd name="connsiteY1" fmla="*/ 15663 h 1012698"/>
              <a:gd name="connsiteX2" fmla="*/ 5179262 w 5179262"/>
              <a:gd name="connsiteY2" fmla="*/ 0 h 1012698"/>
              <a:gd name="connsiteX3" fmla="*/ 4899091 w 5179262"/>
              <a:gd name="connsiteY3" fmla="*/ 1012698 h 1012698"/>
              <a:gd name="connsiteX4" fmla="*/ 0 w 5179262"/>
              <a:gd name="connsiteY4" fmla="*/ 1012384 h 101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9262" h="1012698">
                <a:moveTo>
                  <a:pt x="0" y="1012384"/>
                </a:moveTo>
                <a:cubicBezTo>
                  <a:pt x="69574" y="666313"/>
                  <a:pt x="199011" y="380179"/>
                  <a:pt x="285688" y="15663"/>
                </a:cubicBezTo>
                <a:lnTo>
                  <a:pt x="5179262" y="0"/>
                </a:lnTo>
                <a:lnTo>
                  <a:pt x="4899091" y="1012698"/>
                </a:lnTo>
                <a:lnTo>
                  <a:pt x="0" y="1012384"/>
                </a:lnTo>
                <a:close/>
              </a:path>
            </a:pathLst>
          </a:custGeom>
          <a:solidFill>
            <a:schemeClr val="bg2">
              <a:alpha val="80000"/>
            </a:schemeClr>
          </a:solidFill>
        </p:spPr>
        <p:txBody>
          <a:bodyPr lIns="251999" tIns="180000" rIns="576000" bIns="180000" anchor="ctr">
            <a:normAutofit/>
          </a:bodyPr>
          <a:lstStyle>
            <a:lvl1pPr marL="0" indent="0">
              <a:buNone/>
              <a:defRPr sz="5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5" name="Textplatzhalter 48">
            <a:extLst>
              <a:ext uri="{FF2B5EF4-FFF2-40B4-BE49-F238E27FC236}">
                <a16:creationId xmlns:a16="http://schemas.microsoft.com/office/drawing/2014/main" id="{FFC7836A-7B0D-6B4F-8A4E-EC623AA27A4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49528" y="3049393"/>
            <a:ext cx="1729069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</a:t>
            </a:r>
          </a:p>
        </p:txBody>
      </p:sp>
      <p:sp>
        <p:nvSpPr>
          <p:cNvPr id="76" name="Textplatzhalter 48">
            <a:extLst>
              <a:ext uri="{FF2B5EF4-FFF2-40B4-BE49-F238E27FC236}">
                <a16:creationId xmlns:a16="http://schemas.microsoft.com/office/drawing/2014/main" id="{A4875E4D-FAA4-0A42-8051-6F5255B703E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649528" y="3342285"/>
            <a:ext cx="1656498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Rolle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7A7D2BEA-B868-0240-BE51-44AD614EE8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80000"/>
          </a:blip>
          <a:srcRect r="88533" b="31810"/>
          <a:stretch/>
        </p:blipFill>
        <p:spPr>
          <a:xfrm>
            <a:off x="9368091" y="3007169"/>
            <a:ext cx="264291" cy="553899"/>
          </a:xfrm>
          <a:prstGeom prst="rect">
            <a:avLst/>
          </a:prstGeom>
        </p:spPr>
      </p:pic>
      <p:sp>
        <p:nvSpPr>
          <p:cNvPr id="78" name="Rechteck 6">
            <a:extLst>
              <a:ext uri="{FF2B5EF4-FFF2-40B4-BE49-F238E27FC236}">
                <a16:creationId xmlns:a16="http://schemas.microsoft.com/office/drawing/2014/main" id="{4572F9CD-7F31-C64C-A3FF-B7A908BBC506}"/>
              </a:ext>
            </a:extLst>
          </p:cNvPr>
          <p:cNvSpPr/>
          <p:nvPr userDrawn="1"/>
        </p:nvSpPr>
        <p:spPr>
          <a:xfrm>
            <a:off x="2718521" y="3709022"/>
            <a:ext cx="2160000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hteck 6">
            <a:extLst>
              <a:ext uri="{FF2B5EF4-FFF2-40B4-BE49-F238E27FC236}">
                <a16:creationId xmlns:a16="http://schemas.microsoft.com/office/drawing/2014/main" id="{982C13D0-292D-1641-BE46-8C6EFD4D04CD}"/>
              </a:ext>
            </a:extLst>
          </p:cNvPr>
          <p:cNvSpPr/>
          <p:nvPr userDrawn="1"/>
        </p:nvSpPr>
        <p:spPr>
          <a:xfrm>
            <a:off x="5009148" y="3709022"/>
            <a:ext cx="2160000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hteck 6">
            <a:extLst>
              <a:ext uri="{FF2B5EF4-FFF2-40B4-BE49-F238E27FC236}">
                <a16:creationId xmlns:a16="http://schemas.microsoft.com/office/drawing/2014/main" id="{6950A1FF-F457-CA44-90C2-64C10266A168}"/>
              </a:ext>
            </a:extLst>
          </p:cNvPr>
          <p:cNvSpPr/>
          <p:nvPr userDrawn="1"/>
        </p:nvSpPr>
        <p:spPr>
          <a:xfrm>
            <a:off x="7299775" y="3709022"/>
            <a:ext cx="2160000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hteck 6">
            <a:extLst>
              <a:ext uri="{FF2B5EF4-FFF2-40B4-BE49-F238E27FC236}">
                <a16:creationId xmlns:a16="http://schemas.microsoft.com/office/drawing/2014/main" id="{4B8E4E6A-31B7-0649-B01B-BEB524FAB152}"/>
              </a:ext>
            </a:extLst>
          </p:cNvPr>
          <p:cNvSpPr/>
          <p:nvPr userDrawn="1"/>
        </p:nvSpPr>
        <p:spPr>
          <a:xfrm>
            <a:off x="9590400" y="3709022"/>
            <a:ext cx="2160000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Inhaltsplatzhalter 27">
            <a:extLst>
              <a:ext uri="{FF2B5EF4-FFF2-40B4-BE49-F238E27FC236}">
                <a16:creationId xmlns:a16="http://schemas.microsoft.com/office/drawing/2014/main" id="{49C68317-60B5-744A-8AB3-D88D79B7961F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2718520" y="3708394"/>
            <a:ext cx="2160000" cy="2448040"/>
          </a:xfrm>
          <a:solidFill>
            <a:schemeClr val="bg2"/>
          </a:solidFill>
        </p:spPr>
        <p:txBody>
          <a:bodyPr numCol="1" spcCol="144000">
            <a:noAutofit/>
          </a:bodyPr>
          <a:lstStyle>
            <a:lvl1pPr marL="171450" indent="-171450">
              <a:buFont typeface="Wingdings" pitchFamily="2" charset="2"/>
              <a:buChar char="§"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</a:t>
            </a:r>
          </a:p>
          <a:p>
            <a:pPr lvl="0"/>
            <a:r>
              <a:rPr lang="de-DE"/>
              <a:t>______________________</a:t>
            </a:r>
          </a:p>
          <a:p>
            <a:pPr lvl="0"/>
            <a:r>
              <a:rPr lang="de-DE"/>
              <a:t>____________________________________</a:t>
            </a:r>
          </a:p>
          <a:p>
            <a:pPr lvl="0"/>
            <a:r>
              <a:rPr lang="de-DE"/>
              <a:t>________</a:t>
            </a:r>
          </a:p>
          <a:p>
            <a:pPr lvl="0"/>
            <a:r>
              <a:rPr lang="de-DE"/>
              <a:t>__________________________</a:t>
            </a:r>
          </a:p>
          <a:p>
            <a:pPr lvl="0"/>
            <a:r>
              <a:rPr lang="de-DE"/>
              <a:t>________________</a:t>
            </a:r>
          </a:p>
        </p:txBody>
      </p:sp>
      <p:sp>
        <p:nvSpPr>
          <p:cNvPr id="83" name="Inhaltsplatzhalter 27">
            <a:extLst>
              <a:ext uri="{FF2B5EF4-FFF2-40B4-BE49-F238E27FC236}">
                <a16:creationId xmlns:a16="http://schemas.microsoft.com/office/drawing/2014/main" id="{73467F90-7658-CD47-920B-AD0612E9BDC8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5009147" y="3708394"/>
            <a:ext cx="2160000" cy="2448040"/>
          </a:xfrm>
          <a:solidFill>
            <a:schemeClr val="bg2"/>
          </a:solidFill>
        </p:spPr>
        <p:txBody>
          <a:bodyPr numCol="1" spcCol="144000">
            <a:noAutofit/>
          </a:bodyPr>
          <a:lstStyle>
            <a:lvl1pPr marL="171450" indent="-171450">
              <a:buFont typeface="Wingdings" pitchFamily="2" charset="2"/>
              <a:buChar char="§"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</a:t>
            </a:r>
          </a:p>
          <a:p>
            <a:pPr lvl="0"/>
            <a:r>
              <a:rPr lang="de-DE"/>
              <a:t>______________________</a:t>
            </a:r>
          </a:p>
          <a:p>
            <a:pPr lvl="0"/>
            <a:r>
              <a:rPr lang="de-DE"/>
              <a:t>____________________________________</a:t>
            </a:r>
          </a:p>
          <a:p>
            <a:pPr lvl="0"/>
            <a:r>
              <a:rPr lang="de-DE"/>
              <a:t>________</a:t>
            </a:r>
          </a:p>
          <a:p>
            <a:pPr lvl="0"/>
            <a:r>
              <a:rPr lang="de-DE"/>
              <a:t>__________________________</a:t>
            </a:r>
          </a:p>
          <a:p>
            <a:pPr lvl="0"/>
            <a:r>
              <a:rPr lang="de-DE"/>
              <a:t>________________</a:t>
            </a:r>
          </a:p>
        </p:txBody>
      </p:sp>
      <p:sp>
        <p:nvSpPr>
          <p:cNvPr id="84" name="Inhaltsplatzhalter 27">
            <a:extLst>
              <a:ext uri="{FF2B5EF4-FFF2-40B4-BE49-F238E27FC236}">
                <a16:creationId xmlns:a16="http://schemas.microsoft.com/office/drawing/2014/main" id="{B9A60F65-592D-814C-903E-2DC344546FB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7299774" y="3708394"/>
            <a:ext cx="2160000" cy="2448040"/>
          </a:xfrm>
          <a:solidFill>
            <a:schemeClr val="bg2"/>
          </a:solidFill>
        </p:spPr>
        <p:txBody>
          <a:bodyPr numCol="1" spcCol="144000">
            <a:noAutofit/>
          </a:bodyPr>
          <a:lstStyle>
            <a:lvl1pPr marL="171450" indent="-171450">
              <a:buFont typeface="Wingdings" pitchFamily="2" charset="2"/>
              <a:buChar char="§"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</a:t>
            </a:r>
          </a:p>
          <a:p>
            <a:pPr lvl="0"/>
            <a:r>
              <a:rPr lang="de-DE"/>
              <a:t>______________________</a:t>
            </a:r>
          </a:p>
          <a:p>
            <a:pPr lvl="0"/>
            <a:r>
              <a:rPr lang="de-DE"/>
              <a:t>____________________________________</a:t>
            </a:r>
          </a:p>
          <a:p>
            <a:pPr lvl="0"/>
            <a:r>
              <a:rPr lang="de-DE"/>
              <a:t>________</a:t>
            </a:r>
          </a:p>
          <a:p>
            <a:pPr lvl="0"/>
            <a:r>
              <a:rPr lang="de-DE"/>
              <a:t>__________________________</a:t>
            </a:r>
          </a:p>
          <a:p>
            <a:pPr lvl="0"/>
            <a:r>
              <a:rPr lang="de-DE"/>
              <a:t>________________</a:t>
            </a:r>
          </a:p>
        </p:txBody>
      </p:sp>
      <p:sp>
        <p:nvSpPr>
          <p:cNvPr id="85" name="Inhaltsplatzhalter 27">
            <a:extLst>
              <a:ext uri="{FF2B5EF4-FFF2-40B4-BE49-F238E27FC236}">
                <a16:creationId xmlns:a16="http://schemas.microsoft.com/office/drawing/2014/main" id="{8EC9B168-FA14-734C-8AB0-3DDF41CA70A4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9590400" y="3708394"/>
            <a:ext cx="2160000" cy="2448040"/>
          </a:xfrm>
          <a:solidFill>
            <a:schemeClr val="bg2"/>
          </a:solidFill>
        </p:spPr>
        <p:txBody>
          <a:bodyPr numCol="1" spcCol="144000">
            <a:noAutofit/>
          </a:bodyPr>
          <a:lstStyle>
            <a:lvl1pPr marL="171450" indent="-171450">
              <a:buFont typeface="Wingdings" pitchFamily="2" charset="2"/>
              <a:buChar char="§"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</a:t>
            </a:r>
          </a:p>
          <a:p>
            <a:pPr lvl="0"/>
            <a:r>
              <a:rPr lang="de-DE"/>
              <a:t>______________________</a:t>
            </a:r>
          </a:p>
          <a:p>
            <a:pPr lvl="0"/>
            <a:r>
              <a:rPr lang="de-DE"/>
              <a:t>____________________________________</a:t>
            </a:r>
          </a:p>
          <a:p>
            <a:pPr lvl="0"/>
            <a:r>
              <a:rPr lang="de-DE"/>
              <a:t>________</a:t>
            </a:r>
          </a:p>
          <a:p>
            <a:pPr lvl="0"/>
            <a:r>
              <a:rPr lang="de-DE"/>
              <a:t>__________________________</a:t>
            </a:r>
          </a:p>
          <a:p>
            <a:pPr lvl="0"/>
            <a:r>
              <a:rPr lang="de-DE"/>
              <a:t>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4090099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amvorstellung_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692629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47D9DF-A639-DD4F-A936-306B70525363}"/>
              </a:ext>
            </a:extLst>
          </p:cNvPr>
          <p:cNvGrpSpPr/>
          <p:nvPr userDrawn="1"/>
        </p:nvGrpSpPr>
        <p:grpSpPr>
          <a:xfrm>
            <a:off x="442432" y="1374409"/>
            <a:ext cx="4460933" cy="2244906"/>
            <a:chOff x="442432" y="1374409"/>
            <a:chExt cx="4431647" cy="2217893"/>
          </a:xfrm>
        </p:grpSpPr>
        <p:sp>
          <p:nvSpPr>
            <p:cNvPr id="23" name="Freihandform: Form 27">
              <a:extLst>
                <a:ext uri="{FF2B5EF4-FFF2-40B4-BE49-F238E27FC236}">
                  <a16:creationId xmlns:a16="http://schemas.microsoft.com/office/drawing/2014/main" id="{4CDFF573-7970-2147-8379-009DDB50D1EB}"/>
                </a:ext>
              </a:extLst>
            </p:cNvPr>
            <p:cNvSpPr/>
            <p:nvPr userDrawn="1"/>
          </p:nvSpPr>
          <p:spPr>
            <a:xfrm>
              <a:off x="470567" y="1375645"/>
              <a:ext cx="4403512" cy="2216657"/>
            </a:xfrm>
            <a:custGeom>
              <a:avLst/>
              <a:gdLst>
                <a:gd name="connsiteX0" fmla="*/ 5204049 w 5216919"/>
                <a:gd name="connsiteY0" fmla="*/ 0 h 561995"/>
                <a:gd name="connsiteX1" fmla="*/ 5216919 w 5216919"/>
                <a:gd name="connsiteY1" fmla="*/ 0 h 561995"/>
                <a:gd name="connsiteX2" fmla="*/ 5204049 w 5216919"/>
                <a:gd name="connsiteY2" fmla="*/ 38207 h 561995"/>
                <a:gd name="connsiteX3" fmla="*/ 0 w 5216919"/>
                <a:gd name="connsiteY3" fmla="*/ 0 h 561995"/>
                <a:gd name="connsiteX4" fmla="*/ 4764053 w 5216919"/>
                <a:gd name="connsiteY4" fmla="*/ 0 h 561995"/>
                <a:gd name="connsiteX5" fmla="*/ 4642259 w 5216919"/>
                <a:gd name="connsiteY5" fmla="*/ 561995 h 561995"/>
                <a:gd name="connsiteX6" fmla="*/ 0 w 5216919"/>
                <a:gd name="connsiteY6" fmla="*/ 561995 h 56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16919" h="561995">
                  <a:moveTo>
                    <a:pt x="5204049" y="0"/>
                  </a:moveTo>
                  <a:lnTo>
                    <a:pt x="5216919" y="0"/>
                  </a:lnTo>
                  <a:lnTo>
                    <a:pt x="5204049" y="38207"/>
                  </a:lnTo>
                  <a:close/>
                  <a:moveTo>
                    <a:pt x="0" y="0"/>
                  </a:moveTo>
                  <a:lnTo>
                    <a:pt x="4764053" y="0"/>
                  </a:lnTo>
                  <a:lnTo>
                    <a:pt x="4642259" y="561995"/>
                  </a:lnTo>
                  <a:lnTo>
                    <a:pt x="0" y="561995"/>
                  </a:lnTo>
                  <a:close/>
                </a:path>
              </a:pathLst>
            </a:custGeom>
            <a:solidFill>
              <a:schemeClr val="bg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hteck 29">
              <a:extLst>
                <a:ext uri="{FF2B5EF4-FFF2-40B4-BE49-F238E27FC236}">
                  <a16:creationId xmlns:a16="http://schemas.microsoft.com/office/drawing/2014/main" id="{E250E47A-0103-D847-A3C1-87E509D43F89}"/>
                </a:ext>
              </a:extLst>
            </p:cNvPr>
            <p:cNvSpPr/>
            <p:nvPr userDrawn="1"/>
          </p:nvSpPr>
          <p:spPr>
            <a:xfrm>
              <a:off x="442432" y="1374409"/>
              <a:ext cx="56270" cy="2217893"/>
            </a:xfrm>
            <a:prstGeom prst="rect">
              <a:avLst/>
            </a:prstGeom>
            <a:solidFill>
              <a:srgbClr val="FFCC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" name="Bildplatzhalter 38">
            <a:extLst>
              <a:ext uri="{FF2B5EF4-FFF2-40B4-BE49-F238E27FC236}">
                <a16:creationId xmlns:a16="http://schemas.microsoft.com/office/drawing/2014/main" id="{D9661C9B-BA9C-C649-879F-685853BAC35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964628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rgbClr val="FFCC01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1209" y="1539969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rgbClr val="FFCC0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1209" y="2092901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1209" y="1810200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leiter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911407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rgbClr val="FFCC01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31" name="Bildplatzhalter 38">
            <a:extLst>
              <a:ext uri="{FF2B5EF4-FFF2-40B4-BE49-F238E27FC236}">
                <a16:creationId xmlns:a16="http://schemas.microsoft.com/office/drawing/2014/main" id="{CBF4064D-2BFC-471F-870E-BBE98876020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7374565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rgbClr val="FFCC01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3" name="Bildplatzhalter 38">
            <a:extLst>
              <a:ext uri="{FF2B5EF4-FFF2-40B4-BE49-F238E27FC236}">
                <a16:creationId xmlns:a16="http://schemas.microsoft.com/office/drawing/2014/main" id="{FAA7A687-87DD-49DA-AD54-00F68ED1D61C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8784502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rgbClr val="FFCC01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693BAC72-1962-42AC-82A2-E33B7CDF762C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10194440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rgbClr val="FFCC01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</p:spTree>
    <p:extLst>
      <p:ext uri="{BB962C8B-B14F-4D97-AF65-F5344CB8AC3E}">
        <p14:creationId xmlns:p14="http://schemas.microsoft.com/office/powerpoint/2010/main" val="3966631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amvorstellung_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1816402" y="1382692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20357" y="1539968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20357" y="2092900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430555" y="1379490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1805981" y="1375644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2320357" y="1810199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  <p:sp>
        <p:nvSpPr>
          <p:cNvPr id="31" name="Bildplatzhalter 38">
            <a:extLst>
              <a:ext uri="{FF2B5EF4-FFF2-40B4-BE49-F238E27FC236}">
                <a16:creationId xmlns:a16="http://schemas.microsoft.com/office/drawing/2014/main" id="{8958C066-BB3F-464F-829B-2A1A7318E958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8784502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3" name="Bildplatzhalter 38">
            <a:extLst>
              <a:ext uri="{FF2B5EF4-FFF2-40B4-BE49-F238E27FC236}">
                <a16:creationId xmlns:a16="http://schemas.microsoft.com/office/drawing/2014/main" id="{8C22029C-38AA-4078-8749-6AC81D46B5F0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10194440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4" name="Bildplatzhalter 38">
            <a:extLst>
              <a:ext uri="{FF2B5EF4-FFF2-40B4-BE49-F238E27FC236}">
                <a16:creationId xmlns:a16="http://schemas.microsoft.com/office/drawing/2014/main" id="{722DC0AF-7C4E-4366-A62F-A98E2EEA974E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7374565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C83E0311-67E4-40A5-9B5F-962724D29C34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42800" y="2005200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</p:spTree>
    <p:extLst>
      <p:ext uri="{BB962C8B-B14F-4D97-AF65-F5344CB8AC3E}">
        <p14:creationId xmlns:p14="http://schemas.microsoft.com/office/powerpoint/2010/main" val="3801147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amvorstellung_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3248297" y="1382693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52252" y="1539969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2252" y="2092901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862450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3237876" y="1375645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3752252" y="1810200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23" name="Bildplatzhalter 38">
            <a:extLst>
              <a:ext uri="{FF2B5EF4-FFF2-40B4-BE49-F238E27FC236}">
                <a16:creationId xmlns:a16="http://schemas.microsoft.com/office/drawing/2014/main" id="{77A51057-8741-4DF8-8606-0D635254AD2F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42800" y="2005200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1" name="Bildplatzhalter 38">
            <a:extLst>
              <a:ext uri="{FF2B5EF4-FFF2-40B4-BE49-F238E27FC236}">
                <a16:creationId xmlns:a16="http://schemas.microsoft.com/office/drawing/2014/main" id="{687F1F61-8085-440D-B41B-3831C12B5864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10194440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4" name="Bildplatzhalter 38">
            <a:extLst>
              <a:ext uri="{FF2B5EF4-FFF2-40B4-BE49-F238E27FC236}">
                <a16:creationId xmlns:a16="http://schemas.microsoft.com/office/drawing/2014/main" id="{554DBF25-C6B8-404A-AF9E-3693CD06439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852371" y="2004518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9A730708-F256-497A-A7B2-3A2F21BD8472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8784502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</p:spTree>
    <p:extLst>
      <p:ext uri="{BB962C8B-B14F-4D97-AF65-F5344CB8AC3E}">
        <p14:creationId xmlns:p14="http://schemas.microsoft.com/office/powerpoint/2010/main" val="2175247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amvorstellung_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4653449" y="1382692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7404" y="1539968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7404" y="2092900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67602" y="1379490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4643028" y="1375644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157404" y="1810199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31" name="Bildplatzhalter 38">
            <a:extLst>
              <a:ext uri="{FF2B5EF4-FFF2-40B4-BE49-F238E27FC236}">
                <a16:creationId xmlns:a16="http://schemas.microsoft.com/office/drawing/2014/main" id="{8B1599BB-68C4-4D87-AC07-8497D27E73C3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10194440" y="2004864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3" name="Bildplatzhalter 38">
            <a:extLst>
              <a:ext uri="{FF2B5EF4-FFF2-40B4-BE49-F238E27FC236}">
                <a16:creationId xmlns:a16="http://schemas.microsoft.com/office/drawing/2014/main" id="{52240BB9-9D80-4B2F-8EC3-736D977D4112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42800" y="2005200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4" name="Bildplatzhalter 38">
            <a:extLst>
              <a:ext uri="{FF2B5EF4-FFF2-40B4-BE49-F238E27FC236}">
                <a16:creationId xmlns:a16="http://schemas.microsoft.com/office/drawing/2014/main" id="{31AFA1F8-0639-4DE5-B283-6AFF68FC6C9D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1852371" y="2004518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  <p:sp>
        <p:nvSpPr>
          <p:cNvPr id="35" name="Bildplatzhalter 38">
            <a:extLst>
              <a:ext uri="{FF2B5EF4-FFF2-40B4-BE49-F238E27FC236}">
                <a16:creationId xmlns:a16="http://schemas.microsoft.com/office/drawing/2014/main" id="{987E4FA8-EDF3-41BE-8B14-03A5E85B5EBD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265200" y="2003836"/>
            <a:ext cx="1555128" cy="1614451"/>
          </a:xfrm>
          <a:prstGeom prst="parallelogram">
            <a:avLst>
              <a:gd name="adj" fmla="val 17144"/>
            </a:avLst>
          </a:prstGeom>
          <a:gradFill>
            <a:gsLst>
              <a:gs pos="0">
                <a:schemeClr val="accent1">
                  <a:lumMod val="20000"/>
                  <a:lumOff val="80000"/>
                  <a:alpha val="50000"/>
                </a:schemeClr>
              </a:gs>
              <a:gs pos="100000">
                <a:schemeClr val="tx2">
                  <a:alpha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10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leiter)</a:t>
            </a:r>
          </a:p>
          <a:p>
            <a:r>
              <a:rPr lang="de-DE"/>
              <a:t>Transparenz auf 50% stellen</a:t>
            </a:r>
          </a:p>
        </p:txBody>
      </p:sp>
    </p:spTree>
    <p:extLst>
      <p:ext uri="{BB962C8B-B14F-4D97-AF65-F5344CB8AC3E}">
        <p14:creationId xmlns:p14="http://schemas.microsoft.com/office/powerpoint/2010/main" val="2344018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5739631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pic>
        <p:nvPicPr>
          <p:cNvPr id="2053" name="Picture 5" descr="Schach, Schachbrett, Strategie, Abbildung, Spiel">
            <a:extLst>
              <a:ext uri="{FF2B5EF4-FFF2-40B4-BE49-F238E27FC236}">
                <a16:creationId xmlns:a16="http://schemas.microsoft.com/office/drawing/2014/main" id="{E33BA049-802A-D24B-8784-A9BEDDA5263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6" b="28907"/>
          <a:stretch/>
        </p:blipFill>
        <p:spPr bwMode="auto">
          <a:xfrm>
            <a:off x="-1708" y="-1"/>
            <a:ext cx="12193707" cy="410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8D1FED-642F-4746-8CD1-7A693F8EBE5E}"/>
              </a:ext>
            </a:extLst>
          </p:cNvPr>
          <p:cNvSpPr/>
          <p:nvPr userDrawn="1"/>
        </p:nvSpPr>
        <p:spPr>
          <a:xfrm>
            <a:off x="11745502" y="4103652"/>
            <a:ext cx="446500" cy="2754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8020BF0-8CEE-436D-94E9-EC6029F8F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60814" y="4636172"/>
            <a:ext cx="3884688" cy="1441111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r>
              <a:rPr lang="en-GB" sz="1400" err="1"/>
              <a:t>Vorname</a:t>
            </a:r>
            <a:r>
              <a:rPr lang="en-GB" sz="1400"/>
              <a:t> </a:t>
            </a:r>
            <a:r>
              <a:rPr lang="en-GB" sz="1400" err="1"/>
              <a:t>Nachname</a:t>
            </a:r>
            <a:endParaRPr lang="en-GB" sz="1400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A7A59810-44C2-4EEA-8152-37AD943590FB}"/>
              </a:ext>
            </a:extLst>
          </p:cNvPr>
          <p:cNvSpPr/>
          <p:nvPr userDrawn="1"/>
        </p:nvSpPr>
        <p:spPr>
          <a:xfrm>
            <a:off x="-2" y="1595620"/>
            <a:ext cx="8100293" cy="1012615"/>
          </a:xfrm>
          <a:custGeom>
            <a:avLst/>
            <a:gdLst>
              <a:gd name="connsiteX0" fmla="*/ 0 w 7603068"/>
              <a:gd name="connsiteY0" fmla="*/ 0 h 1012615"/>
              <a:gd name="connsiteX1" fmla="*/ 6479956 w 7603068"/>
              <a:gd name="connsiteY1" fmla="*/ 0 h 1012615"/>
              <a:gd name="connsiteX2" fmla="*/ 7603068 w 7603068"/>
              <a:gd name="connsiteY2" fmla="*/ 1012615 h 1012615"/>
              <a:gd name="connsiteX3" fmla="*/ 0 w 7603068"/>
              <a:gd name="connsiteY3" fmla="*/ 1012615 h 1012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03068" h="1012615">
                <a:moveTo>
                  <a:pt x="0" y="0"/>
                </a:moveTo>
                <a:lnTo>
                  <a:pt x="6479956" y="0"/>
                </a:lnTo>
                <a:lnTo>
                  <a:pt x="7603068" y="1012615"/>
                </a:lnTo>
                <a:lnTo>
                  <a:pt x="0" y="1012615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txBody>
          <a:bodyPr vert="horz" wrap="square" lIns="251999" tIns="180000" rIns="540000" bIns="180000" rtlCol="0" anchor="ctr">
            <a:noAutofit/>
          </a:bodyPr>
          <a:lstStyle/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93333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>
              <a:ln>
                <a:noFill/>
              </a:ln>
              <a:solidFill>
                <a:srgbClr val="99333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Parallelogramm 22">
            <a:extLst>
              <a:ext uri="{FF2B5EF4-FFF2-40B4-BE49-F238E27FC236}">
                <a16:creationId xmlns:a16="http://schemas.microsoft.com/office/drawing/2014/main" id="{7788154D-E28F-448E-8F9B-3301872C1528}"/>
              </a:ext>
            </a:extLst>
          </p:cNvPr>
          <p:cNvSpPr/>
          <p:nvPr userDrawn="1"/>
        </p:nvSpPr>
        <p:spPr>
          <a:xfrm flipV="1">
            <a:off x="3378078" y="2610709"/>
            <a:ext cx="6045438" cy="650078"/>
          </a:xfrm>
          <a:prstGeom prst="parallelogram">
            <a:avLst>
              <a:gd name="adj" fmla="val 111988"/>
            </a:avLst>
          </a:prstGeom>
          <a:solidFill>
            <a:srgbClr val="B3CC3E"/>
          </a:solidFill>
        </p:spPr>
        <p:txBody>
          <a:bodyPr vert="horz" lIns="360000" tIns="180000" rIns="432000" bIns="180000" rtlCol="0" anchor="ctr">
            <a:normAutofit fontScale="70000" lnSpcReduction="20000"/>
          </a:bodyPr>
          <a:lstStyle/>
          <a:p>
            <a:pPr marL="0" marR="0" lvl="0" indent="0" algn="ctr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93333"/>
              </a:buClr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Media Placeholder 11">
            <a:extLst>
              <a:ext uri="{FF2B5EF4-FFF2-40B4-BE49-F238E27FC236}">
                <a16:creationId xmlns:a16="http://schemas.microsoft.com/office/drawing/2014/main" id="{4EF12000-B395-45FA-B457-C9BEA980678F}"/>
              </a:ext>
            </a:extLst>
          </p:cNvPr>
          <p:cNvSpPr>
            <a:spLocks noGrp="1"/>
          </p:cNvSpPr>
          <p:nvPr>
            <p:ph type="media" sz="quarter" idx="28" hasCustomPrompt="1"/>
          </p:nvPr>
        </p:nvSpPr>
        <p:spPr>
          <a:xfrm>
            <a:off x="706584" y="4616450"/>
            <a:ext cx="1811784" cy="1570003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highlight>
                  <a:srgbClr val="FFFF00"/>
                </a:highlight>
              </a:defRPr>
            </a:lvl1pPr>
          </a:lstStyle>
          <a:p>
            <a:r>
              <a:rPr lang="en-GB"/>
              <a:t>Logo </a:t>
            </a:r>
            <a:r>
              <a:rPr lang="en-GB" err="1"/>
              <a:t>Platzhalter</a:t>
            </a:r>
            <a:endParaRPr lang="en-GB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1BF5F3A-28B0-414D-8A6E-3AE29CFDA21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8772" y="2792632"/>
            <a:ext cx="3360215" cy="286232"/>
          </a:xfrm>
        </p:spPr>
        <p:txBody>
          <a:bodyPr wrap="none" anchor="ctr">
            <a:noAutofit/>
          </a:bodyPr>
          <a:lstStyle>
            <a:lvl1pPr>
              <a:defRPr kumimoji="0" lang="de-DE" sz="14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>
                <a:srgbClr val="993333"/>
              </a:buClr>
              <a:buSzTx/>
              <a:buFontTx/>
              <a:buNone/>
              <a:tabLst/>
            </a:pPr>
            <a:r>
              <a:rPr lang="de-DE"/>
              <a:t>[Firmenname oder Firmenlogo]</a:t>
            </a:r>
          </a:p>
        </p:txBody>
      </p:sp>
      <p:sp>
        <p:nvSpPr>
          <p:cNvPr id="30" name="Textplatzhalter 28">
            <a:extLst>
              <a:ext uri="{FF2B5EF4-FFF2-40B4-BE49-F238E27FC236}">
                <a16:creationId xmlns:a16="http://schemas.microsoft.com/office/drawing/2014/main" id="{AC8DE7A9-AA16-43B3-9049-5A2466612F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1110" y="1595621"/>
            <a:ext cx="5881254" cy="1012614"/>
          </a:xfrm>
          <a:noFill/>
        </p:spPr>
        <p:txBody>
          <a:bodyPr wrap="square" rtlCol="0" anchor="ctr">
            <a:noAutofit/>
          </a:bodyPr>
          <a:lstStyle>
            <a:lvl1pPr>
              <a:buFontTx/>
              <a:buNone/>
              <a:defRPr kumimoji="0" lang="de-DE" sz="20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[Projekttitel]</a:t>
            </a:r>
          </a:p>
        </p:txBody>
      </p:sp>
      <p:cxnSp>
        <p:nvCxnSpPr>
          <p:cNvPr id="31" name="Straight Connector 14">
            <a:extLst>
              <a:ext uri="{FF2B5EF4-FFF2-40B4-BE49-F238E27FC236}">
                <a16:creationId xmlns:a16="http://schemas.microsoft.com/office/drawing/2014/main" id="{591546B5-6FBE-46A7-8974-E7DBECC904E7}"/>
              </a:ext>
            </a:extLst>
          </p:cNvPr>
          <p:cNvCxnSpPr>
            <a:cxnSpLocks/>
          </p:cNvCxnSpPr>
          <p:nvPr userDrawn="1"/>
        </p:nvCxnSpPr>
        <p:spPr>
          <a:xfrm>
            <a:off x="7793196" y="4524375"/>
            <a:ext cx="0" cy="1831820"/>
          </a:xfrm>
          <a:prstGeom prst="line">
            <a:avLst/>
          </a:prstGeom>
          <a:ln>
            <a:solidFill>
              <a:srgbClr val="B3CC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A3743426-8330-4AF1-9C96-2874275BC1EC}"/>
              </a:ext>
            </a:extLst>
          </p:cNvPr>
          <p:cNvSpPr txBox="1"/>
          <p:nvPr userDrawn="1"/>
        </p:nvSpPr>
        <p:spPr>
          <a:xfrm>
            <a:off x="7860814" y="5812154"/>
            <a:ext cx="27895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de-DE" sz="120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200">
                <a:solidFill>
                  <a:schemeClr val="bg1">
                    <a:lumMod val="50000"/>
                  </a:schemeClr>
                </a:solidFill>
              </a:rPr>
              <a:t>Donnerstag, 24. September 2020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25F94E8F-4B2D-2748-B5A3-8BA8D36CB3BD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953151" y="2533074"/>
            <a:ext cx="2962800" cy="784800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48646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908">
          <p15:clr>
            <a:srgbClr val="FBAE40"/>
          </p15:clr>
        </p15:guide>
        <p15:guide id="3" orient="horz" pos="38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6FECC3C-E1B4-2F4E-A8A0-03C09D0E7D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4842" y="1295846"/>
            <a:ext cx="9573252" cy="4821237"/>
          </a:xfrm>
          <a:prstGeom prst="rect">
            <a:avLst/>
          </a:prstGeom>
        </p:spPr>
        <p:txBody>
          <a:bodyPr anchor="ctr"/>
          <a:lstStyle>
            <a:lvl1pPr marL="228606" indent="-228606">
              <a:buClr>
                <a:srgbClr val="B3CC3E"/>
              </a:buClr>
              <a:buFont typeface="System Font"/>
              <a:buChar char="▸"/>
              <a:defRPr sz="1400" i="0"/>
            </a:lvl1pPr>
          </a:lstStyle>
          <a:p>
            <a:r>
              <a:rPr lang="de-DE" err="1"/>
              <a:t>Agendapunkt</a:t>
            </a:r>
            <a:r>
              <a:rPr lang="de-DE"/>
              <a:t> 1</a:t>
            </a:r>
          </a:p>
          <a:p>
            <a:r>
              <a:rPr lang="de-DE" err="1"/>
              <a:t>Agendapunkt</a:t>
            </a:r>
            <a:r>
              <a:rPr lang="de-DE"/>
              <a:t> 2</a:t>
            </a:r>
          </a:p>
          <a:p>
            <a:r>
              <a:rPr lang="de-DE" err="1"/>
              <a:t>Agendapunkt</a:t>
            </a:r>
            <a:r>
              <a:rPr lang="de-DE"/>
              <a:t> 3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49F887-6562-2F4E-8ACC-95DB753E6F6E}"/>
              </a:ext>
            </a:extLst>
          </p:cNvPr>
          <p:cNvCxnSpPr>
            <a:cxnSpLocks/>
          </p:cNvCxnSpPr>
          <p:nvPr userDrawn="1"/>
        </p:nvCxnSpPr>
        <p:spPr>
          <a:xfrm>
            <a:off x="2042738" y="1295846"/>
            <a:ext cx="0" cy="48212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A535CDDB-8570-F346-A3C0-EC3C7DF161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D0F357-E0C9-F74B-847C-33FA660E7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985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3296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443077" y="1251836"/>
            <a:ext cx="11307323" cy="4937283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171455" indent="-171455">
              <a:buClr>
                <a:srgbClr val="B3CC3E"/>
              </a:buClr>
              <a:buFont typeface="Wingdings" pitchFamily="2" charset="2"/>
              <a:buChar char="§"/>
              <a:defRPr sz="1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tandard Font Size 11</a:t>
            </a:r>
          </a:p>
          <a:p>
            <a:pPr lvl="0"/>
            <a:r>
              <a:rPr lang="en-US"/>
              <a:t>Further allowed Font Sizes: 10, 12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3784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bschlussfolie_Vere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0627201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70C2C3-409D-2A48-85CE-CBAD55781659}"/>
              </a:ext>
            </a:extLst>
          </p:cNvPr>
          <p:cNvSpPr/>
          <p:nvPr userDrawn="1"/>
        </p:nvSpPr>
        <p:spPr>
          <a:xfrm>
            <a:off x="11729933" y="3"/>
            <a:ext cx="46206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800"/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2134D844-F475-4B87-A07C-B135E7D5B0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77" b="25842"/>
          <a:stretch/>
        </p:blipFill>
        <p:spPr>
          <a:xfrm>
            <a:off x="0" y="2844799"/>
            <a:ext cx="12192000" cy="3411863"/>
          </a:xfrm>
          <a:prstGeom prst="rect">
            <a:avLst/>
          </a:prstGeom>
        </p:spPr>
      </p:pic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62DD55B4-55FD-4424-8F8B-6196ACF02BA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436726" y="3501874"/>
            <a:ext cx="3934179" cy="2232430"/>
          </a:xfrm>
          <a:solidFill>
            <a:schemeClr val="accent1">
              <a:alpha val="9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1" name="Textplatzhalter 48">
            <a:extLst>
              <a:ext uri="{FF2B5EF4-FFF2-40B4-BE49-F238E27FC236}">
                <a16:creationId xmlns:a16="http://schemas.microsoft.com/office/drawing/2014/main" id="{FA917B9B-B19E-4191-A7BB-69AA7702AD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10540" y="3662352"/>
            <a:ext cx="2880001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rgbClr val="B3CC3E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2" name="Textplatzhalter 48">
            <a:extLst>
              <a:ext uri="{FF2B5EF4-FFF2-40B4-BE49-F238E27FC236}">
                <a16:creationId xmlns:a16="http://schemas.microsoft.com/office/drawing/2014/main" id="{10DA2BF1-28DF-444A-8D76-5E9941A7ED1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0540" y="3932583"/>
            <a:ext cx="2880000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leiter</a:t>
            </a:r>
          </a:p>
        </p:txBody>
      </p:sp>
      <p:sp>
        <p:nvSpPr>
          <p:cNvPr id="74" name="Content Placeholder 18">
            <a:extLst>
              <a:ext uri="{FF2B5EF4-FFF2-40B4-BE49-F238E27FC236}">
                <a16:creationId xmlns:a16="http://schemas.microsoft.com/office/drawing/2014/main" id="{4F33C4AA-E868-4B04-AE03-FC3D963EDEB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5716753" y="4431336"/>
            <a:ext cx="2880000" cy="179388"/>
          </a:xfrm>
          <a:prstGeom prst="rect">
            <a:avLst/>
          </a:prstGeom>
        </p:spPr>
        <p:txBody>
          <a:bodyPr wrap="none" lIns="0" rIns="0" anchor="ctr"/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 err="1"/>
              <a:t>name.nachname@academyconsult.de</a:t>
            </a:r>
            <a:endParaRPr lang="de-DE"/>
          </a:p>
        </p:txBody>
      </p:sp>
      <p:sp>
        <p:nvSpPr>
          <p:cNvPr id="75" name="Content Placeholder 18">
            <a:extLst>
              <a:ext uri="{FF2B5EF4-FFF2-40B4-BE49-F238E27FC236}">
                <a16:creationId xmlns:a16="http://schemas.microsoft.com/office/drawing/2014/main" id="{6A07D0DF-DFCA-4908-B455-8714942F764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716752" y="4718825"/>
            <a:ext cx="2880000" cy="179388"/>
          </a:xfrm>
          <a:prstGeom prst="rect">
            <a:avLst/>
          </a:prstGeom>
        </p:spPr>
        <p:txBody>
          <a:bodyPr wrap="none" lIns="0" rIns="0" anchor="ctr"/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+49 162 1651878</a:t>
            </a:r>
          </a:p>
        </p:txBody>
      </p:sp>
      <p:sp>
        <p:nvSpPr>
          <p:cNvPr id="76" name="Content Placeholder 18">
            <a:extLst>
              <a:ext uri="{FF2B5EF4-FFF2-40B4-BE49-F238E27FC236}">
                <a16:creationId xmlns:a16="http://schemas.microsoft.com/office/drawing/2014/main" id="{11A22568-F6D4-4E0F-93EC-936905E2F3D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5716752" y="5006314"/>
            <a:ext cx="2880000" cy="179388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Adresszeile 1</a:t>
            </a:r>
          </a:p>
        </p:txBody>
      </p:sp>
      <p:sp>
        <p:nvSpPr>
          <p:cNvPr id="77" name="Content Placeholder 18">
            <a:extLst>
              <a:ext uri="{FF2B5EF4-FFF2-40B4-BE49-F238E27FC236}">
                <a16:creationId xmlns:a16="http://schemas.microsoft.com/office/drawing/2014/main" id="{5FF4003D-2D02-4513-BD37-62E178511E9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16752" y="5227813"/>
            <a:ext cx="2880000" cy="179388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Adresszeile 2</a:t>
            </a:r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D3337A4F-C9EC-425B-A90B-59FF5FC64FF1}"/>
              </a:ext>
            </a:extLst>
          </p:cNvPr>
          <p:cNvSpPr/>
          <p:nvPr userDrawn="1"/>
        </p:nvSpPr>
        <p:spPr>
          <a:xfrm flipV="1">
            <a:off x="6548409" y="1278685"/>
            <a:ext cx="5643590" cy="660285"/>
          </a:xfrm>
          <a:custGeom>
            <a:avLst/>
            <a:gdLst>
              <a:gd name="connsiteX0" fmla="*/ 0 w 5643590"/>
              <a:gd name="connsiteY0" fmla="*/ 660285 h 660285"/>
              <a:gd name="connsiteX1" fmla="*/ 5643590 w 5643590"/>
              <a:gd name="connsiteY1" fmla="*/ 660285 h 660285"/>
              <a:gd name="connsiteX2" fmla="*/ 5643590 w 5643590"/>
              <a:gd name="connsiteY2" fmla="*/ 0 h 660285"/>
              <a:gd name="connsiteX3" fmla="*/ 732335 w 5643590"/>
              <a:gd name="connsiteY3" fmla="*/ 0 h 660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3590" h="660285">
                <a:moveTo>
                  <a:pt x="0" y="660285"/>
                </a:moveTo>
                <a:lnTo>
                  <a:pt x="5643590" y="660285"/>
                </a:lnTo>
                <a:lnTo>
                  <a:pt x="5643590" y="0"/>
                </a:lnTo>
                <a:lnTo>
                  <a:pt x="732335" y="0"/>
                </a:lnTo>
                <a:close/>
              </a:path>
            </a:pathLst>
          </a:custGeom>
          <a:solidFill>
            <a:srgbClr val="B3CC3E">
              <a:alpha val="90000"/>
            </a:srgbClr>
          </a:solidFill>
        </p:spPr>
        <p:txBody>
          <a:bodyPr vert="horz" wrap="square" lIns="360000" tIns="180000" rIns="432000" bIns="180000" rtlCol="0" anchor="ctr">
            <a:noAutofit/>
          </a:bodyPr>
          <a:lstStyle/>
          <a:p>
            <a:pPr algn="ctr" defTabSz="91442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</a:pPr>
            <a:endParaRPr lang="de-DE" sz="14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B24DC52F-2617-4B08-B7EB-F93E5E7FCB62}"/>
              </a:ext>
            </a:extLst>
          </p:cNvPr>
          <p:cNvSpPr/>
          <p:nvPr userDrawn="1"/>
        </p:nvSpPr>
        <p:spPr>
          <a:xfrm>
            <a:off x="1" y="661595"/>
            <a:ext cx="6810875" cy="1012615"/>
          </a:xfrm>
          <a:custGeom>
            <a:avLst/>
            <a:gdLst>
              <a:gd name="connsiteX0" fmla="*/ 0 w 6810875"/>
              <a:gd name="connsiteY0" fmla="*/ 0 h 1012615"/>
              <a:gd name="connsiteX1" fmla="*/ 5687763 w 6810875"/>
              <a:gd name="connsiteY1" fmla="*/ 0 h 1012615"/>
              <a:gd name="connsiteX2" fmla="*/ 6810875 w 6810875"/>
              <a:gd name="connsiteY2" fmla="*/ 1012615 h 1012615"/>
              <a:gd name="connsiteX3" fmla="*/ 0 w 6810875"/>
              <a:gd name="connsiteY3" fmla="*/ 1012615 h 1012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10875" h="1012615">
                <a:moveTo>
                  <a:pt x="0" y="0"/>
                </a:moveTo>
                <a:lnTo>
                  <a:pt x="5687763" y="0"/>
                </a:lnTo>
                <a:lnTo>
                  <a:pt x="6810875" y="1012615"/>
                </a:lnTo>
                <a:lnTo>
                  <a:pt x="0" y="101261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251999" tIns="180000" rIns="576000" bIns="180000" rtlCol="0" anchor="ctr">
            <a:noAutofit/>
          </a:bodyPr>
          <a:lstStyle/>
          <a:p>
            <a:pPr defTabSz="91442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</a:pPr>
            <a:endParaRPr lang="de-DE" sz="2000" b="1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61" name="Grafik 51">
            <a:extLst>
              <a:ext uri="{FF2B5EF4-FFF2-40B4-BE49-F238E27FC236}">
                <a16:creationId xmlns:a16="http://schemas.microsoft.com/office/drawing/2014/main" id="{FEEF5F05-A9C6-4410-8A53-6EAF0D08D0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70" t="31624" r="7868" b="33734"/>
          <a:stretch/>
        </p:blipFill>
        <p:spPr>
          <a:xfrm>
            <a:off x="8159624" y="1187148"/>
            <a:ext cx="2982077" cy="789373"/>
          </a:xfrm>
          <a:prstGeom prst="rect">
            <a:avLst/>
          </a:prstGeom>
        </p:spPr>
      </p:pic>
      <p:sp>
        <p:nvSpPr>
          <p:cNvPr id="62" name="Textfeld 61">
            <a:extLst>
              <a:ext uri="{FF2B5EF4-FFF2-40B4-BE49-F238E27FC236}">
                <a16:creationId xmlns:a16="http://schemas.microsoft.com/office/drawing/2014/main" id="{DB1364D5-68C7-4CD8-9D69-2FBC9869237C}"/>
              </a:ext>
            </a:extLst>
          </p:cNvPr>
          <p:cNvSpPr txBox="1"/>
          <p:nvPr userDrawn="1"/>
        </p:nvSpPr>
        <p:spPr>
          <a:xfrm>
            <a:off x="721651" y="813959"/>
            <a:ext cx="38763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2000" b="1" err="1">
                <a:solidFill>
                  <a:schemeClr val="tx1"/>
                </a:solidFill>
                <a:latin typeface="+mj-lt"/>
              </a:rPr>
              <a:t>Vielen</a:t>
            </a:r>
            <a:r>
              <a:rPr lang="en-GB" sz="2000" b="1">
                <a:solidFill>
                  <a:schemeClr val="tx1"/>
                </a:solidFill>
                <a:latin typeface="+mj-lt"/>
              </a:rPr>
              <a:t> Dank </a:t>
            </a:r>
            <a:br>
              <a:rPr lang="en-GB" sz="2000" b="1">
                <a:solidFill>
                  <a:schemeClr val="tx1"/>
                </a:solidFill>
                <a:latin typeface="+mj-lt"/>
              </a:rPr>
            </a:br>
            <a:r>
              <a:rPr lang="en-GB" sz="2000" b="1">
                <a:solidFill>
                  <a:schemeClr val="tx1"/>
                </a:solidFill>
                <a:latin typeface="+mj-lt"/>
              </a:rPr>
              <a:t>für </a:t>
            </a:r>
            <a:r>
              <a:rPr lang="en-GB" sz="2000" b="1" err="1">
                <a:solidFill>
                  <a:schemeClr val="tx1"/>
                </a:solidFill>
                <a:latin typeface="+mj-lt"/>
              </a:rPr>
              <a:t>Ihre</a:t>
            </a:r>
            <a:r>
              <a:rPr lang="en-GB" sz="2000" b="1">
                <a:solidFill>
                  <a:schemeClr val="tx1"/>
                </a:solidFill>
                <a:latin typeface="+mj-lt"/>
              </a:rPr>
              <a:t> </a:t>
            </a:r>
            <a:r>
              <a:rPr lang="en-GB" sz="2000" b="1" err="1">
                <a:solidFill>
                  <a:schemeClr val="tx1"/>
                </a:solidFill>
                <a:latin typeface="+mj-lt"/>
              </a:rPr>
              <a:t>Aufmerksamkeit</a:t>
            </a:r>
            <a:r>
              <a:rPr lang="en-GB" sz="2000" b="1">
                <a:solidFill>
                  <a:schemeClr val="tx1"/>
                </a:solidFill>
                <a:latin typeface="+mj-lt"/>
              </a:rPr>
              <a:t>!</a:t>
            </a:r>
            <a:endParaRPr lang="de-DE" sz="2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F7223704-E0AA-471B-8B93-7B787EC0A20C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5351761" y="3501875"/>
            <a:ext cx="84963" cy="2232430"/>
          </a:xfrm>
          <a:solidFill>
            <a:srgbClr val="B3CC3E">
              <a:alpha val="9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8" name="Bildplatzhalter 38">
            <a:extLst>
              <a:ext uri="{FF2B5EF4-FFF2-40B4-BE49-F238E27FC236}">
                <a16:creationId xmlns:a16="http://schemas.microsoft.com/office/drawing/2014/main" id="{FEC5D9A2-5B82-4A31-A5D0-A59B8DAA17F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814523" y="3501874"/>
            <a:ext cx="2215385" cy="2232430"/>
          </a:xfrm>
          <a:prstGeom prst="parallelogram">
            <a:avLst>
              <a:gd name="adj" fmla="val 16470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1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8111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1155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6FECC3C-E1B4-2F4E-A8A0-03C09D0E7D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4842" y="1295846"/>
            <a:ext cx="9573252" cy="4821237"/>
          </a:xfrm>
          <a:prstGeom prst="rect">
            <a:avLst/>
          </a:prstGeom>
        </p:spPr>
        <p:txBody>
          <a:bodyPr anchor="ctr"/>
          <a:lstStyle>
            <a:lvl1pPr marL="228606" indent="-228606">
              <a:buClr>
                <a:srgbClr val="AF0E0D"/>
              </a:buClr>
              <a:buFont typeface="System Font"/>
              <a:buChar char="▸"/>
              <a:defRPr sz="1400" i="0"/>
            </a:lvl1pPr>
          </a:lstStyle>
          <a:p>
            <a:r>
              <a:rPr lang="de-DE" err="1"/>
              <a:t>Agendapunkt</a:t>
            </a:r>
            <a:r>
              <a:rPr lang="de-DE"/>
              <a:t> 1</a:t>
            </a:r>
          </a:p>
          <a:p>
            <a:r>
              <a:rPr lang="de-DE" err="1"/>
              <a:t>Agendapunkt</a:t>
            </a:r>
            <a:r>
              <a:rPr lang="de-DE"/>
              <a:t> 2</a:t>
            </a:r>
          </a:p>
          <a:p>
            <a:r>
              <a:rPr lang="de-DE" err="1"/>
              <a:t>Agendapunkt</a:t>
            </a:r>
            <a:r>
              <a:rPr lang="de-DE"/>
              <a:t> 3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49F887-6562-2F4E-8ACC-95DB753E6F6E}"/>
              </a:ext>
            </a:extLst>
          </p:cNvPr>
          <p:cNvCxnSpPr>
            <a:cxnSpLocks/>
          </p:cNvCxnSpPr>
          <p:nvPr userDrawn="1"/>
        </p:nvCxnSpPr>
        <p:spPr>
          <a:xfrm>
            <a:off x="2042738" y="1295846"/>
            <a:ext cx="0" cy="4821237"/>
          </a:xfrm>
          <a:prstGeom prst="line">
            <a:avLst/>
          </a:prstGeom>
          <a:ln w="12700">
            <a:solidFill>
              <a:srgbClr val="2F70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A535CDDB-8570-F346-A3C0-EC3C7DF161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D0F357-E0C9-F74B-847C-33FA660E7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7143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443077" y="1251836"/>
            <a:ext cx="11307323" cy="4937283"/>
          </a:xfrm>
          <a:prstGeom prst="rect">
            <a:avLst/>
          </a:prstGeom>
        </p:spPr>
        <p:txBody>
          <a:bodyPr lIns="0" rIns="0"/>
          <a:lstStyle>
            <a:lvl1pPr marL="228606" indent="-228606">
              <a:buClr>
                <a:srgbClr val="B3CC3E"/>
              </a:buClr>
              <a:buFont typeface="Wingdings" panose="05000000000000000000" pitchFamily="2" charset="2"/>
              <a:buChar char="§"/>
              <a:defRPr sz="1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tandard Font Size 11</a:t>
            </a:r>
          </a:p>
          <a:p>
            <a:pPr lvl="0"/>
            <a:r>
              <a:rPr lang="en-US"/>
              <a:t>Further allowed Font Sizes: 10, 12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88123" y="832378"/>
            <a:ext cx="10062277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3" name="Parallelogram 2">
            <a:extLst>
              <a:ext uri="{FF2B5EF4-FFF2-40B4-BE49-F238E27FC236}">
                <a16:creationId xmlns:a16="http://schemas.microsoft.com/office/drawing/2014/main" id="{017DA5BA-8021-F04F-AA05-3255841B7563}"/>
              </a:ext>
            </a:extLst>
          </p:cNvPr>
          <p:cNvSpPr/>
          <p:nvPr userDrawn="1"/>
        </p:nvSpPr>
        <p:spPr>
          <a:xfrm flipH="1">
            <a:off x="-291402" y="834307"/>
            <a:ext cx="1902794" cy="249136"/>
          </a:xfrm>
          <a:prstGeom prst="parallelogram">
            <a:avLst>
              <a:gd name="adj" fmla="val 57770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0">
                <a:solidFill>
                  <a:schemeClr val="tx1"/>
                </a:solidFill>
              </a:rPr>
              <a:t>Backup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E1E038-AB6A-9548-BE64-EFED1AAC2A54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4F5DD3-C78F-464B-B11D-DF9699A70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7466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799C7C4-801C-4B07-ADB7-6FDD2503108B}"/>
              </a:ext>
            </a:extLst>
          </p:cNvPr>
          <p:cNvSpPr/>
          <p:nvPr userDrawn="1"/>
        </p:nvSpPr>
        <p:spPr>
          <a:xfrm>
            <a:off x="3618854" y="1239131"/>
            <a:ext cx="7985534" cy="49296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C77BF535-3C91-47AC-9C38-B18C5D952B72}"/>
              </a:ext>
            </a:extLst>
          </p:cNvPr>
          <p:cNvSpPr/>
          <p:nvPr userDrawn="1"/>
        </p:nvSpPr>
        <p:spPr>
          <a:xfrm>
            <a:off x="3743171" y="5158346"/>
            <a:ext cx="7918687" cy="879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8BF25DC-6D0F-455A-AE67-7A0730617BF0}"/>
              </a:ext>
            </a:extLst>
          </p:cNvPr>
          <p:cNvSpPr/>
          <p:nvPr userDrawn="1"/>
        </p:nvSpPr>
        <p:spPr>
          <a:xfrm>
            <a:off x="3743171" y="1353161"/>
            <a:ext cx="7918689" cy="879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27" name="Text Placeholder 78">
            <a:extLst>
              <a:ext uri="{FF2B5EF4-FFF2-40B4-BE49-F238E27FC236}">
                <a16:creationId xmlns:a16="http://schemas.microsoft.com/office/drawing/2014/main" id="{5AA2B6E0-14C7-4AA6-BB42-EA0ABE4DECC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21067" y="1581149"/>
            <a:ext cx="7054850" cy="6715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steht</a:t>
            </a:r>
            <a:r>
              <a:rPr lang="en-GB"/>
              <a:t> die </a:t>
            </a:r>
            <a:r>
              <a:rPr lang="en-GB" err="1"/>
              <a:t>Ausgangslage</a:t>
            </a:r>
            <a:r>
              <a:rPr lang="en-GB"/>
              <a:t> des </a:t>
            </a:r>
            <a:r>
              <a:rPr lang="en-GB" err="1"/>
              <a:t>Projektes</a:t>
            </a:r>
            <a:r>
              <a:rPr lang="en-GB"/>
              <a:t> in </a:t>
            </a:r>
            <a:r>
              <a:rPr lang="en-GB" err="1"/>
              <a:t>knappen</a:t>
            </a:r>
            <a:r>
              <a:rPr lang="en-GB"/>
              <a:t> </a:t>
            </a:r>
            <a:r>
              <a:rPr lang="en-GB" err="1"/>
              <a:t>Sätzen</a:t>
            </a:r>
            <a:r>
              <a:rPr lang="en-GB"/>
              <a:t>. </a:t>
            </a:r>
          </a:p>
        </p:txBody>
      </p:sp>
      <p:sp>
        <p:nvSpPr>
          <p:cNvPr id="228" name="Text Placeholder 78">
            <a:extLst>
              <a:ext uri="{FF2B5EF4-FFF2-40B4-BE49-F238E27FC236}">
                <a16:creationId xmlns:a16="http://schemas.microsoft.com/office/drawing/2014/main" id="{381D5DC5-81F0-485C-B696-DF706CE0C14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17510" y="5391087"/>
            <a:ext cx="7054850" cy="67151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Hier</a:t>
            </a:r>
            <a:r>
              <a:rPr lang="en-GB"/>
              <a:t> </a:t>
            </a:r>
            <a:r>
              <a:rPr lang="en-GB" err="1"/>
              <a:t>werden</a:t>
            </a:r>
            <a:r>
              <a:rPr lang="en-GB"/>
              <a:t> die </a:t>
            </a:r>
            <a:r>
              <a:rPr lang="en-GB" err="1"/>
              <a:t>Ergebnisse</a:t>
            </a:r>
            <a:r>
              <a:rPr lang="en-GB"/>
              <a:t> des </a:t>
            </a:r>
            <a:r>
              <a:rPr lang="en-GB" err="1"/>
              <a:t>Projektes</a:t>
            </a:r>
            <a:r>
              <a:rPr lang="en-GB"/>
              <a:t> in </a:t>
            </a:r>
            <a:r>
              <a:rPr lang="en-GB" err="1"/>
              <a:t>knappen</a:t>
            </a:r>
            <a:r>
              <a:rPr lang="en-GB"/>
              <a:t> </a:t>
            </a:r>
            <a:r>
              <a:rPr lang="en-GB" err="1"/>
              <a:t>Sätzen</a:t>
            </a:r>
            <a:r>
              <a:rPr lang="en-GB"/>
              <a:t> </a:t>
            </a:r>
            <a:r>
              <a:rPr lang="en-GB" err="1"/>
              <a:t>zusammengefasst</a:t>
            </a:r>
            <a:r>
              <a:rPr lang="en-GB"/>
              <a:t>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46CC11D-FACC-4AE8-ABFF-D2479F6E3C4C}"/>
              </a:ext>
            </a:extLst>
          </p:cNvPr>
          <p:cNvGrpSpPr/>
          <p:nvPr userDrawn="1"/>
        </p:nvGrpSpPr>
        <p:grpSpPr>
          <a:xfrm>
            <a:off x="8823510" y="2426189"/>
            <a:ext cx="140692" cy="2563736"/>
            <a:chOff x="9001945" y="8766985"/>
            <a:chExt cx="140692" cy="2563736"/>
          </a:xfrm>
        </p:grpSpPr>
        <p:cxnSp>
          <p:nvCxnSpPr>
            <p:cNvPr id="177" name="Gerade Verbindung 23">
              <a:extLst>
                <a:ext uri="{FF2B5EF4-FFF2-40B4-BE49-F238E27FC236}">
                  <a16:creationId xmlns:a16="http://schemas.microsoft.com/office/drawing/2014/main" id="{6BA751D3-1D75-48EC-80BA-EA4673B8FBE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001945" y="9090439"/>
              <a:ext cx="0" cy="2240282"/>
            </a:xfrm>
            <a:prstGeom prst="line">
              <a:avLst/>
            </a:prstGeom>
            <a:ln w="12700" cap="rnd">
              <a:solidFill>
                <a:srgbClr val="B6B6B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8" name="Gruppieren 177">
              <a:extLst>
                <a:ext uri="{FF2B5EF4-FFF2-40B4-BE49-F238E27FC236}">
                  <a16:creationId xmlns:a16="http://schemas.microsoft.com/office/drawing/2014/main" id="{1C33FCA8-6707-48FE-95A5-0161184E0D3B}"/>
                </a:ext>
              </a:extLst>
            </p:cNvPr>
            <p:cNvGrpSpPr/>
            <p:nvPr userDrawn="1"/>
          </p:nvGrpSpPr>
          <p:grpSpPr>
            <a:xfrm>
              <a:off x="9002064" y="8766985"/>
              <a:ext cx="140573" cy="322153"/>
              <a:chOff x="6424906" y="2303389"/>
              <a:chExt cx="331970" cy="578646"/>
            </a:xfrm>
          </p:grpSpPr>
          <p:cxnSp>
            <p:nvCxnSpPr>
              <p:cNvPr id="179" name="Gerader Verbinder 178">
                <a:extLst>
                  <a:ext uri="{FF2B5EF4-FFF2-40B4-BE49-F238E27FC236}">
                    <a16:creationId xmlns:a16="http://schemas.microsoft.com/office/drawing/2014/main" id="{DECFF4D3-9E72-4968-B3AF-458F77D1B9C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 flipV="1">
                <a:off x="6448848" y="2574007"/>
                <a:ext cx="287860" cy="328196"/>
              </a:xfrm>
              <a:prstGeom prst="line">
                <a:avLst/>
              </a:prstGeom>
              <a:ln w="12700" cap="rnd">
                <a:solidFill>
                  <a:srgbClr val="B6B6B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r Verbinder 179">
                <a:extLst>
                  <a:ext uri="{FF2B5EF4-FFF2-40B4-BE49-F238E27FC236}">
                    <a16:creationId xmlns:a16="http://schemas.microsoft.com/office/drawing/2014/main" id="{261A4010-C97E-4658-8D97-E870F4D4B92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6445074" y="2283221"/>
                <a:ext cx="287860" cy="328196"/>
              </a:xfrm>
              <a:prstGeom prst="line">
                <a:avLst/>
              </a:prstGeom>
              <a:ln w="12700" cap="rnd">
                <a:solidFill>
                  <a:srgbClr val="B6B6B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3" name="Gruppieren 202">
            <a:extLst>
              <a:ext uri="{FF2B5EF4-FFF2-40B4-BE49-F238E27FC236}">
                <a16:creationId xmlns:a16="http://schemas.microsoft.com/office/drawing/2014/main" id="{0CD9BB1E-8585-406C-8319-EB70F8245A3D}"/>
              </a:ext>
            </a:extLst>
          </p:cNvPr>
          <p:cNvGrpSpPr/>
          <p:nvPr userDrawn="1"/>
        </p:nvGrpSpPr>
        <p:grpSpPr>
          <a:xfrm>
            <a:off x="6297891" y="2426189"/>
            <a:ext cx="140692" cy="2563736"/>
            <a:chOff x="9001945" y="8766985"/>
            <a:chExt cx="140692" cy="2563736"/>
          </a:xfrm>
        </p:grpSpPr>
        <p:cxnSp>
          <p:nvCxnSpPr>
            <p:cNvPr id="204" name="Gerade Verbindung 23">
              <a:extLst>
                <a:ext uri="{FF2B5EF4-FFF2-40B4-BE49-F238E27FC236}">
                  <a16:creationId xmlns:a16="http://schemas.microsoft.com/office/drawing/2014/main" id="{F4359D52-F528-4559-AB0F-16B710F28C0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001945" y="9090439"/>
              <a:ext cx="0" cy="2240282"/>
            </a:xfrm>
            <a:prstGeom prst="line">
              <a:avLst/>
            </a:prstGeom>
            <a:ln w="12700" cap="rnd">
              <a:solidFill>
                <a:srgbClr val="B6B6B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" name="Gruppieren 204">
              <a:extLst>
                <a:ext uri="{FF2B5EF4-FFF2-40B4-BE49-F238E27FC236}">
                  <a16:creationId xmlns:a16="http://schemas.microsoft.com/office/drawing/2014/main" id="{ACF09D9B-9C9B-4B99-AC52-DD43DFBEEADE}"/>
                </a:ext>
              </a:extLst>
            </p:cNvPr>
            <p:cNvGrpSpPr/>
            <p:nvPr userDrawn="1"/>
          </p:nvGrpSpPr>
          <p:grpSpPr>
            <a:xfrm>
              <a:off x="9002064" y="8766985"/>
              <a:ext cx="140573" cy="322153"/>
              <a:chOff x="6424906" y="2303389"/>
              <a:chExt cx="331970" cy="578646"/>
            </a:xfrm>
          </p:grpSpPr>
          <p:cxnSp>
            <p:nvCxnSpPr>
              <p:cNvPr id="206" name="Gerader Verbinder 205">
                <a:extLst>
                  <a:ext uri="{FF2B5EF4-FFF2-40B4-BE49-F238E27FC236}">
                    <a16:creationId xmlns:a16="http://schemas.microsoft.com/office/drawing/2014/main" id="{4AF120E8-A1ED-4355-83B7-27C8CDCA6F56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 flipV="1">
                <a:off x="6448848" y="2574007"/>
                <a:ext cx="287860" cy="328196"/>
              </a:xfrm>
              <a:prstGeom prst="line">
                <a:avLst/>
              </a:prstGeom>
              <a:ln w="12700" cap="rnd">
                <a:solidFill>
                  <a:srgbClr val="B6B6B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Gerader Verbinder 206">
                <a:extLst>
                  <a:ext uri="{FF2B5EF4-FFF2-40B4-BE49-F238E27FC236}">
                    <a16:creationId xmlns:a16="http://schemas.microsoft.com/office/drawing/2014/main" id="{437E117C-363E-422E-B79B-E5D8291368F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6445074" y="2283221"/>
                <a:ext cx="287860" cy="328196"/>
              </a:xfrm>
              <a:prstGeom prst="line">
                <a:avLst/>
              </a:prstGeom>
              <a:ln w="12700" cap="rnd">
                <a:solidFill>
                  <a:srgbClr val="B6B6B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8" name="Text Placeholder 78">
            <a:extLst>
              <a:ext uri="{FF2B5EF4-FFF2-40B4-BE49-F238E27FC236}">
                <a16:creationId xmlns:a16="http://schemas.microsoft.com/office/drawing/2014/main" id="{A68D4A65-C63E-445F-AC9A-D873062364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025560" y="2906335"/>
            <a:ext cx="2160000" cy="2052000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GB" err="1"/>
              <a:t>Bulletpoint</a:t>
            </a:r>
            <a:endParaRPr lang="en-GB"/>
          </a:p>
          <a:p>
            <a:pPr lvl="0"/>
            <a:r>
              <a:rPr lang="en-GB" err="1"/>
              <a:t>Bulletpoint</a:t>
            </a:r>
            <a:r>
              <a:rPr lang="en-GB"/>
              <a:t> </a:t>
            </a:r>
          </a:p>
        </p:txBody>
      </p:sp>
      <p:sp>
        <p:nvSpPr>
          <p:cNvPr id="219" name="Text Placeholder 78">
            <a:extLst>
              <a:ext uri="{FF2B5EF4-FFF2-40B4-BE49-F238E27FC236}">
                <a16:creationId xmlns:a16="http://schemas.microsoft.com/office/drawing/2014/main" id="{2370923C-92CA-472E-B9C2-E210E630B64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48534" y="2906335"/>
            <a:ext cx="2160000" cy="2052000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GB" err="1"/>
              <a:t>Bulletpoint</a:t>
            </a:r>
            <a:endParaRPr lang="en-GB"/>
          </a:p>
          <a:p>
            <a:pPr lvl="0"/>
            <a:r>
              <a:rPr lang="en-GB" err="1"/>
              <a:t>Bulletpoint</a:t>
            </a:r>
            <a:r>
              <a:rPr lang="en-GB"/>
              <a:t> </a:t>
            </a:r>
          </a:p>
        </p:txBody>
      </p:sp>
      <p:sp>
        <p:nvSpPr>
          <p:cNvPr id="220" name="Text Placeholder 78">
            <a:extLst>
              <a:ext uri="{FF2B5EF4-FFF2-40B4-BE49-F238E27FC236}">
                <a16:creationId xmlns:a16="http://schemas.microsoft.com/office/drawing/2014/main" id="{F59E6F86-8B42-4531-AC25-622F769AE2A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73707" y="2905701"/>
            <a:ext cx="2160000" cy="2052000"/>
          </a:xfrm>
        </p:spPr>
        <p:txBody>
          <a:bodyPr>
            <a:noAutofit/>
          </a:bodyPr>
          <a:lstStyle>
            <a:lvl1pPr marL="171450" indent="-1714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GB" err="1"/>
              <a:t>Bulletpoint</a:t>
            </a:r>
            <a:endParaRPr lang="en-GB"/>
          </a:p>
          <a:p>
            <a:pPr lvl="0"/>
            <a:r>
              <a:rPr lang="en-GB" err="1"/>
              <a:t>Bulletpoint</a:t>
            </a:r>
            <a:r>
              <a:rPr lang="en-GB"/>
              <a:t> </a:t>
            </a:r>
          </a:p>
        </p:txBody>
      </p:sp>
      <p:sp>
        <p:nvSpPr>
          <p:cNvPr id="224" name="Text Placeholder 78">
            <a:extLst>
              <a:ext uri="{FF2B5EF4-FFF2-40B4-BE49-F238E27FC236}">
                <a16:creationId xmlns:a16="http://schemas.microsoft.com/office/drawing/2014/main" id="{E351A083-6270-46F6-B4AA-40887B3075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545113" y="2445289"/>
            <a:ext cx="2079740" cy="305608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b="1">
                <a:solidFill>
                  <a:srgbClr val="B3CC3E"/>
                </a:solidFill>
              </a:defRPr>
            </a:lvl1pPr>
          </a:lstStyle>
          <a:p>
            <a:pPr lvl="0"/>
            <a:r>
              <a:rPr lang="en-GB"/>
              <a:t>Phase II</a:t>
            </a:r>
          </a:p>
        </p:txBody>
      </p:sp>
      <p:sp>
        <p:nvSpPr>
          <p:cNvPr id="225" name="Text Placeholder 78">
            <a:extLst>
              <a:ext uri="{FF2B5EF4-FFF2-40B4-BE49-F238E27FC236}">
                <a16:creationId xmlns:a16="http://schemas.microsoft.com/office/drawing/2014/main" id="{19C6D278-35F2-4C6E-9E95-3429D565310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019981" y="2450891"/>
            <a:ext cx="2160000" cy="305608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b="1">
                <a:solidFill>
                  <a:srgbClr val="B3CC3E"/>
                </a:solidFill>
              </a:defRPr>
            </a:lvl1pPr>
          </a:lstStyle>
          <a:p>
            <a:pPr lvl="0"/>
            <a:r>
              <a:rPr lang="en-GB"/>
              <a:t>Phase I</a:t>
            </a:r>
          </a:p>
        </p:txBody>
      </p:sp>
      <p:sp>
        <p:nvSpPr>
          <p:cNvPr id="226" name="Text Placeholder 78">
            <a:extLst>
              <a:ext uri="{FF2B5EF4-FFF2-40B4-BE49-F238E27FC236}">
                <a16:creationId xmlns:a16="http://schemas.microsoft.com/office/drawing/2014/main" id="{219F7C43-A24A-4E57-BD21-BE5BD1BD6B0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73231" y="2442131"/>
            <a:ext cx="2160000" cy="305608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b="1">
                <a:solidFill>
                  <a:srgbClr val="B3CC3E"/>
                </a:solidFill>
              </a:defRPr>
            </a:lvl1pPr>
          </a:lstStyle>
          <a:p>
            <a:pPr lvl="0"/>
            <a:r>
              <a:rPr lang="en-GB"/>
              <a:t>Phase III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2E693095-B98E-41DE-9F37-99EBDB5D7DF3}"/>
              </a:ext>
            </a:extLst>
          </p:cNvPr>
          <p:cNvSpPr/>
          <p:nvPr userDrawn="1"/>
        </p:nvSpPr>
        <p:spPr>
          <a:xfrm>
            <a:off x="624523" y="2858575"/>
            <a:ext cx="2495393" cy="33102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281098A0-870A-F34C-AEF1-DCDD34B7EC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077" y="180000"/>
            <a:ext cx="11307323" cy="691242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Action Title,</a:t>
            </a:r>
            <a:br>
              <a:rPr lang="en-US"/>
            </a:br>
            <a:r>
              <a:rPr lang="en-US"/>
              <a:t>Two Lines (Font Size 18)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err="1"/>
              <a:t>Referenzprojekt</a:t>
            </a:r>
            <a:r>
              <a:rPr lang="en-US"/>
              <a:t> [Competence Center]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4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171" name="Text Placeholder 16">
            <a:extLst>
              <a:ext uri="{FF2B5EF4-FFF2-40B4-BE49-F238E27FC236}">
                <a16:creationId xmlns:a16="http://schemas.microsoft.com/office/drawing/2014/main" id="{3C0995B5-BF6D-4ECD-9389-73A7F1E032B0}"/>
              </a:ext>
            </a:extLst>
          </p:cNvPr>
          <p:cNvSpPr txBox="1">
            <a:spLocks/>
          </p:cNvSpPr>
          <p:nvPr userDrawn="1"/>
        </p:nvSpPr>
        <p:spPr>
          <a:xfrm>
            <a:off x="4320521" y="5196280"/>
            <a:ext cx="1212249" cy="231655"/>
          </a:xfrm>
          <a:prstGeom prst="rect">
            <a:avLst/>
          </a:prstGeom>
        </p:spPr>
        <p:txBody>
          <a:bodyPr>
            <a:noAutofit/>
          </a:bodyPr>
          <a:lstStyle>
            <a:lvl1pPr marL="171455" indent="-171455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>
                <a:solidFill>
                  <a:schemeClr val="bg1">
                    <a:lumMod val="50000"/>
                  </a:schemeClr>
                </a:solidFill>
                <a:latin typeface="Verdana" pitchFamily="-65" charset="0"/>
                <a:ea typeface="ＭＳ Ｐゴシック" pitchFamily="-65" charset="-128"/>
              </a:rPr>
              <a:t>Ergebnisse</a:t>
            </a:r>
          </a:p>
        </p:txBody>
      </p:sp>
      <p:sp>
        <p:nvSpPr>
          <p:cNvPr id="172" name="Text Placeholder 16">
            <a:extLst>
              <a:ext uri="{FF2B5EF4-FFF2-40B4-BE49-F238E27FC236}">
                <a16:creationId xmlns:a16="http://schemas.microsoft.com/office/drawing/2014/main" id="{6A242C47-92BC-43EA-B7E2-94C97F44AA1D}"/>
              </a:ext>
            </a:extLst>
          </p:cNvPr>
          <p:cNvSpPr txBox="1">
            <a:spLocks/>
          </p:cNvSpPr>
          <p:nvPr userDrawn="1"/>
        </p:nvSpPr>
        <p:spPr>
          <a:xfrm>
            <a:off x="4326871" y="1383009"/>
            <a:ext cx="1399391" cy="231655"/>
          </a:xfrm>
          <a:prstGeom prst="rect">
            <a:avLst/>
          </a:prstGeom>
        </p:spPr>
        <p:txBody>
          <a:bodyPr>
            <a:noAutofit/>
          </a:bodyPr>
          <a:lstStyle>
            <a:lvl1pPr marL="171455" indent="-171455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>
                <a:solidFill>
                  <a:schemeClr val="bg1">
                    <a:lumMod val="50000"/>
                  </a:schemeClr>
                </a:solidFill>
                <a:latin typeface="Verdana" pitchFamily="-65" charset="0"/>
                <a:ea typeface="ＭＳ Ｐゴシック" pitchFamily="-65" charset="-128"/>
              </a:rPr>
              <a:t>Ausgangslage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91406C29-01FF-463A-833C-1945812C7B8B}"/>
              </a:ext>
            </a:extLst>
          </p:cNvPr>
          <p:cNvSpPr/>
          <p:nvPr userDrawn="1"/>
        </p:nvSpPr>
        <p:spPr>
          <a:xfrm>
            <a:off x="728206" y="3659100"/>
            <a:ext cx="2423466" cy="59868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1" name="Content Placeholder 5">
            <a:extLst>
              <a:ext uri="{FF2B5EF4-FFF2-40B4-BE49-F238E27FC236}">
                <a16:creationId xmlns:a16="http://schemas.microsoft.com/office/drawing/2014/main" id="{7E8CAB7F-B1B0-490E-B742-9999BB2AF315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838928" y="3119583"/>
            <a:ext cx="2156671" cy="529100"/>
          </a:xfrm>
        </p:spPr>
        <p:txBody>
          <a:bodyPr lIns="0" anchor="ctr">
            <a:noAutofit/>
          </a:bodyPr>
          <a:lstStyle>
            <a:lvl1pPr marL="0" indent="0">
              <a:buNone/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Firmenname</a:t>
            </a:r>
            <a:endParaRPr lang="en-GB"/>
          </a:p>
        </p:txBody>
      </p:sp>
      <p:sp>
        <p:nvSpPr>
          <p:cNvPr id="192" name="Content Placeholder 5">
            <a:extLst>
              <a:ext uri="{FF2B5EF4-FFF2-40B4-BE49-F238E27FC236}">
                <a16:creationId xmlns:a16="http://schemas.microsoft.com/office/drawing/2014/main" id="{B61FE35F-EA0B-45DE-832D-F11C821906D4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838928" y="3701841"/>
            <a:ext cx="2156671" cy="312014"/>
          </a:xfrm>
        </p:spPr>
        <p:txBody>
          <a:bodyPr lIns="36000" anchor="ctr"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Branche</a:t>
            </a:r>
            <a:r>
              <a:rPr lang="en-GB"/>
              <a:t> (des </a:t>
            </a:r>
            <a:r>
              <a:rPr lang="en-GB" err="1"/>
              <a:t>Kunden</a:t>
            </a:r>
            <a:r>
              <a:rPr lang="en-GB"/>
              <a:t>)</a:t>
            </a:r>
          </a:p>
        </p:txBody>
      </p:sp>
      <p:sp>
        <p:nvSpPr>
          <p:cNvPr id="193" name="Content Placeholder 5">
            <a:extLst>
              <a:ext uri="{FF2B5EF4-FFF2-40B4-BE49-F238E27FC236}">
                <a16:creationId xmlns:a16="http://schemas.microsoft.com/office/drawing/2014/main" id="{E5880429-D62C-4190-8E19-53352DB5054B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838928" y="3896297"/>
            <a:ext cx="2156671" cy="312014"/>
          </a:xfrm>
        </p:spPr>
        <p:txBody>
          <a:bodyPr lIns="36000" anchor="ctr"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Mitarbeiterzahl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4DB41C6-22C2-4229-A674-4320BD895D21}"/>
              </a:ext>
            </a:extLst>
          </p:cNvPr>
          <p:cNvSpPr/>
          <p:nvPr userDrawn="1"/>
        </p:nvSpPr>
        <p:spPr>
          <a:xfrm>
            <a:off x="3122058" y="3659100"/>
            <a:ext cx="60182" cy="598688"/>
          </a:xfrm>
          <a:prstGeom prst="rect">
            <a:avLst/>
          </a:prstGeom>
          <a:solidFill>
            <a:srgbClr val="B3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B7E29264-145A-4626-9BE5-580025403A51}"/>
              </a:ext>
            </a:extLst>
          </p:cNvPr>
          <p:cNvSpPr/>
          <p:nvPr userDrawn="1"/>
        </p:nvSpPr>
        <p:spPr>
          <a:xfrm>
            <a:off x="732098" y="5225460"/>
            <a:ext cx="2423466" cy="59868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5" name="Content Placeholder 5">
            <a:extLst>
              <a:ext uri="{FF2B5EF4-FFF2-40B4-BE49-F238E27FC236}">
                <a16:creationId xmlns:a16="http://schemas.microsoft.com/office/drawing/2014/main" id="{70AD2261-CC30-491A-984E-BB8313BA46F2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838928" y="4685943"/>
            <a:ext cx="2160563" cy="529100"/>
          </a:xfrm>
        </p:spPr>
        <p:txBody>
          <a:bodyPr lIns="0" anchor="ctr">
            <a:noAutofit/>
          </a:bodyPr>
          <a:lstStyle>
            <a:lvl1pPr marL="0" indent="0">
              <a:buNone/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Projektart</a:t>
            </a:r>
            <a:endParaRPr lang="en-GB"/>
          </a:p>
        </p:txBody>
      </p:sp>
      <p:sp>
        <p:nvSpPr>
          <p:cNvPr id="196" name="Content Placeholder 5">
            <a:extLst>
              <a:ext uri="{FF2B5EF4-FFF2-40B4-BE49-F238E27FC236}">
                <a16:creationId xmlns:a16="http://schemas.microsoft.com/office/drawing/2014/main" id="{260D09CE-286C-4161-B8C0-2FDDF4CF752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842820" y="5268201"/>
            <a:ext cx="2156671" cy="312014"/>
          </a:xfrm>
        </p:spPr>
        <p:txBody>
          <a:bodyPr lIns="36000" anchor="ctr"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Personentage</a:t>
            </a:r>
            <a:endParaRPr lang="en-GB"/>
          </a:p>
        </p:txBody>
      </p:sp>
      <p:sp>
        <p:nvSpPr>
          <p:cNvPr id="197" name="Content Placeholder 5">
            <a:extLst>
              <a:ext uri="{FF2B5EF4-FFF2-40B4-BE49-F238E27FC236}">
                <a16:creationId xmlns:a16="http://schemas.microsoft.com/office/drawing/2014/main" id="{2EF3F0DA-01B9-4CF5-9B5B-3A2DF0432D36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842820" y="5462657"/>
            <a:ext cx="2156671" cy="312014"/>
          </a:xfrm>
        </p:spPr>
        <p:txBody>
          <a:bodyPr lIns="36000" anchor="ctr"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err="1"/>
              <a:t>Berateranzahl</a:t>
            </a:r>
            <a:endParaRPr lang="en-GB"/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C81002AD-34A1-47DC-9D8D-9C68BC2513D5}"/>
              </a:ext>
            </a:extLst>
          </p:cNvPr>
          <p:cNvSpPr/>
          <p:nvPr userDrawn="1"/>
        </p:nvSpPr>
        <p:spPr>
          <a:xfrm>
            <a:off x="3125950" y="5225460"/>
            <a:ext cx="60182" cy="598688"/>
          </a:xfrm>
          <a:prstGeom prst="rect">
            <a:avLst/>
          </a:prstGeom>
          <a:solidFill>
            <a:srgbClr val="B3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AD84BC0C-44C8-4DBA-A3C3-5198BAAEF9D6}"/>
              </a:ext>
            </a:extLst>
          </p:cNvPr>
          <p:cNvSpPr/>
          <p:nvPr userDrawn="1"/>
        </p:nvSpPr>
        <p:spPr>
          <a:xfrm>
            <a:off x="11602828" y="1352319"/>
            <a:ext cx="59032" cy="879019"/>
          </a:xfrm>
          <a:prstGeom prst="rect">
            <a:avLst/>
          </a:prstGeom>
          <a:solidFill>
            <a:srgbClr val="B3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rgbClr val="B3CC3E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B2C31E0E-8034-4030-A418-C28E22122FC4}"/>
              </a:ext>
            </a:extLst>
          </p:cNvPr>
          <p:cNvSpPr/>
          <p:nvPr userDrawn="1"/>
        </p:nvSpPr>
        <p:spPr>
          <a:xfrm>
            <a:off x="11602880" y="5158347"/>
            <a:ext cx="59032" cy="879019"/>
          </a:xfrm>
          <a:prstGeom prst="rect">
            <a:avLst/>
          </a:prstGeom>
          <a:solidFill>
            <a:srgbClr val="B3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rgbClr val="B3CC3E"/>
              </a:solidFill>
            </a:endParaRPr>
          </a:p>
        </p:txBody>
      </p:sp>
      <p:sp>
        <p:nvSpPr>
          <p:cNvPr id="11" name="Gleichschenkliges Dreieck 10">
            <a:extLst>
              <a:ext uri="{FF2B5EF4-FFF2-40B4-BE49-F238E27FC236}">
                <a16:creationId xmlns:a16="http://schemas.microsoft.com/office/drawing/2014/main" id="{91C8492D-1778-4F30-A822-BD45926559B3}"/>
              </a:ext>
            </a:extLst>
          </p:cNvPr>
          <p:cNvSpPr/>
          <p:nvPr userDrawn="1"/>
        </p:nvSpPr>
        <p:spPr>
          <a:xfrm rot="5400000">
            <a:off x="3346211" y="5471576"/>
            <a:ext cx="1021636" cy="24153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09" name="Bildplatzhalter 13">
            <a:extLst>
              <a:ext uri="{FF2B5EF4-FFF2-40B4-BE49-F238E27FC236}">
                <a16:creationId xmlns:a16="http://schemas.microsoft.com/office/drawing/2014/main" id="{E14586B2-F992-4549-B0E4-48CDAE532A4D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623888" y="1618023"/>
            <a:ext cx="2495550" cy="1091373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Unternehmenslogo</a:t>
            </a:r>
          </a:p>
        </p:txBody>
      </p:sp>
    </p:spTree>
    <p:extLst>
      <p:ext uri="{BB962C8B-B14F-4D97-AF65-F5344CB8AC3E}">
        <p14:creationId xmlns:p14="http://schemas.microsoft.com/office/powerpoint/2010/main" val="23822898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70C2C3-409D-2A48-85CE-CBAD55781659}"/>
              </a:ext>
            </a:extLst>
          </p:cNvPr>
          <p:cNvSpPr/>
          <p:nvPr userDrawn="1"/>
        </p:nvSpPr>
        <p:spPr>
          <a:xfrm>
            <a:off x="11729933" y="3"/>
            <a:ext cx="46206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80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4D780C59-7E93-8540-88D6-2E328861E51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548409" y="1287016"/>
            <a:ext cx="5643591" cy="655840"/>
          </a:xfrm>
          <a:custGeom>
            <a:avLst/>
            <a:gdLst>
              <a:gd name="connsiteX0" fmla="*/ 0 w 5643591"/>
              <a:gd name="connsiteY0" fmla="*/ 0 h 655840"/>
              <a:gd name="connsiteX1" fmla="*/ 5643591 w 5643591"/>
              <a:gd name="connsiteY1" fmla="*/ 9637 h 655840"/>
              <a:gd name="connsiteX2" fmla="*/ 5643591 w 5643591"/>
              <a:gd name="connsiteY2" fmla="*/ 655840 h 655840"/>
              <a:gd name="connsiteX3" fmla="*/ 769879 w 5643591"/>
              <a:gd name="connsiteY3" fmla="*/ 651461 h 65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3591" h="655840">
                <a:moveTo>
                  <a:pt x="0" y="0"/>
                </a:moveTo>
                <a:lnTo>
                  <a:pt x="5643591" y="9637"/>
                </a:lnTo>
                <a:lnTo>
                  <a:pt x="5643591" y="655840"/>
                </a:lnTo>
                <a:lnTo>
                  <a:pt x="769879" y="651461"/>
                </a:lnTo>
                <a:close/>
              </a:path>
            </a:pathLst>
          </a:custGeom>
          <a:solidFill>
            <a:srgbClr val="B3CC3E"/>
          </a:solidFill>
        </p:spPr>
        <p:txBody>
          <a:bodyPr wrap="square" lIns="360000" tIns="180000" rIns="432000" bIns="18000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46D3AE06-C7AD-AA48-9015-985DE0F64B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842887"/>
            <a:ext cx="12192000" cy="3411863"/>
          </a:xfrm>
          <a:prstGeom prst="rect">
            <a:avLst/>
          </a:prstGeom>
          <a:blipFill>
            <a:blip r:embed="rId6"/>
            <a:stretch>
              <a:fillRect b="54"/>
            </a:stretch>
          </a:blipFill>
        </p:spPr>
        <p:txBody>
          <a:bodyPr/>
          <a:lstStyle>
            <a:lvl1pPr marL="0" indent="0">
              <a:buNone/>
              <a:defRPr sz="1200">
                <a:highlight>
                  <a:srgbClr val="FFFF00"/>
                </a:highlight>
              </a:defRPr>
            </a:lvl1pPr>
          </a:lstStyle>
          <a:p>
            <a:r>
              <a:rPr lang="de-DE" err="1"/>
              <a:t>Blatzhalter</a:t>
            </a:r>
            <a:r>
              <a:rPr lang="de-DE"/>
              <a:t> für Bild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62DD55B4-55FD-4424-8F8B-6196ACF02BA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436726" y="3501874"/>
            <a:ext cx="3934179" cy="2232430"/>
          </a:xfrm>
          <a:solidFill>
            <a:schemeClr val="accent1">
              <a:alpha val="9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1" name="Textplatzhalter 48">
            <a:extLst>
              <a:ext uri="{FF2B5EF4-FFF2-40B4-BE49-F238E27FC236}">
                <a16:creationId xmlns:a16="http://schemas.microsoft.com/office/drawing/2014/main" id="{FA917B9B-B19E-4191-A7BB-69AA7702AD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10540" y="3662352"/>
            <a:ext cx="2880001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rgbClr val="B3CC3E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2" name="Textplatzhalter 48">
            <a:extLst>
              <a:ext uri="{FF2B5EF4-FFF2-40B4-BE49-F238E27FC236}">
                <a16:creationId xmlns:a16="http://schemas.microsoft.com/office/drawing/2014/main" id="{10DA2BF1-28DF-444A-8D76-5E9941A7ED1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0540" y="3932583"/>
            <a:ext cx="2880000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leiter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D5C32A89-7B75-F841-B2E9-C5E5BA5E8CB4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-16184" y="657772"/>
            <a:ext cx="6885251" cy="1012614"/>
          </a:xfrm>
          <a:custGeom>
            <a:avLst/>
            <a:gdLst>
              <a:gd name="connsiteX0" fmla="*/ 5681455 w 6885251"/>
              <a:gd name="connsiteY0" fmla="*/ 0 h 1012614"/>
              <a:gd name="connsiteX1" fmla="*/ 6885251 w 6885251"/>
              <a:gd name="connsiteY1" fmla="*/ 1012614 h 1012614"/>
              <a:gd name="connsiteX2" fmla="*/ 0 w 6885251"/>
              <a:gd name="connsiteY2" fmla="*/ 967700 h 1012614"/>
              <a:gd name="connsiteX3" fmla="*/ 0 w 6885251"/>
              <a:gd name="connsiteY3" fmla="*/ 46177 h 101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5251" h="1012614">
                <a:moveTo>
                  <a:pt x="5681455" y="0"/>
                </a:moveTo>
                <a:lnTo>
                  <a:pt x="6885251" y="1012614"/>
                </a:lnTo>
                <a:lnTo>
                  <a:pt x="0" y="967700"/>
                </a:lnTo>
                <a:lnTo>
                  <a:pt x="0" y="4617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251999" tIns="180000" rIns="540000" bIns="180000" anchor="ctr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4" name="Content Placeholder 18">
            <a:extLst>
              <a:ext uri="{FF2B5EF4-FFF2-40B4-BE49-F238E27FC236}">
                <a16:creationId xmlns:a16="http://schemas.microsoft.com/office/drawing/2014/main" id="{4F33C4AA-E868-4B04-AE03-FC3D963EDEB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5716753" y="4431336"/>
            <a:ext cx="2880000" cy="179388"/>
          </a:xfrm>
          <a:prstGeom prst="rect">
            <a:avLst/>
          </a:prstGeom>
        </p:spPr>
        <p:txBody>
          <a:bodyPr wrap="none" lIns="0" rIns="0" anchor="ctr"/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 err="1"/>
              <a:t>name.nachname@academyconsult.de</a:t>
            </a:r>
            <a:endParaRPr lang="de-DE"/>
          </a:p>
        </p:txBody>
      </p:sp>
      <p:sp>
        <p:nvSpPr>
          <p:cNvPr id="75" name="Content Placeholder 18">
            <a:extLst>
              <a:ext uri="{FF2B5EF4-FFF2-40B4-BE49-F238E27FC236}">
                <a16:creationId xmlns:a16="http://schemas.microsoft.com/office/drawing/2014/main" id="{6A07D0DF-DFCA-4908-B455-8714942F764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716752" y="4718825"/>
            <a:ext cx="2880000" cy="179388"/>
          </a:xfrm>
          <a:prstGeom prst="rect">
            <a:avLst/>
          </a:prstGeom>
        </p:spPr>
        <p:txBody>
          <a:bodyPr wrap="none" lIns="0" rIns="0" anchor="ctr"/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+49 162 1651878</a:t>
            </a:r>
          </a:p>
        </p:txBody>
      </p:sp>
      <p:sp>
        <p:nvSpPr>
          <p:cNvPr id="76" name="Content Placeholder 18">
            <a:extLst>
              <a:ext uri="{FF2B5EF4-FFF2-40B4-BE49-F238E27FC236}">
                <a16:creationId xmlns:a16="http://schemas.microsoft.com/office/drawing/2014/main" id="{11A22568-F6D4-4E0F-93EC-936905E2F3D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5716752" y="5006314"/>
            <a:ext cx="2880000" cy="179388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Adresszeile 1</a:t>
            </a:r>
          </a:p>
        </p:txBody>
      </p:sp>
      <p:sp>
        <p:nvSpPr>
          <p:cNvPr id="77" name="Content Placeholder 18">
            <a:extLst>
              <a:ext uri="{FF2B5EF4-FFF2-40B4-BE49-F238E27FC236}">
                <a16:creationId xmlns:a16="http://schemas.microsoft.com/office/drawing/2014/main" id="{5FF4003D-2D02-4513-BD37-62E178511E9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16752" y="5227813"/>
            <a:ext cx="2880000" cy="179388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rgbClr val="B3CC3E"/>
                </a:solidFill>
              </a:defRPr>
            </a:lvl1pPr>
          </a:lstStyle>
          <a:p>
            <a:pPr lvl="0"/>
            <a:r>
              <a:rPr lang="de-DE"/>
              <a:t>Adresszeile 2</a:t>
            </a:r>
          </a:p>
        </p:txBody>
      </p: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F7223704-E0AA-471B-8B93-7B787EC0A20C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5351761" y="3501875"/>
            <a:ext cx="84963" cy="2232430"/>
          </a:xfrm>
          <a:solidFill>
            <a:srgbClr val="B3CC3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8" name="Bildplatzhalter 38">
            <a:extLst>
              <a:ext uri="{FF2B5EF4-FFF2-40B4-BE49-F238E27FC236}">
                <a16:creationId xmlns:a16="http://schemas.microsoft.com/office/drawing/2014/main" id="{FEC5D9A2-5B82-4A31-A5D0-A59B8DAA17F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814523" y="3501874"/>
            <a:ext cx="2215385" cy="2232430"/>
          </a:xfrm>
          <a:prstGeom prst="parallelogram">
            <a:avLst>
              <a:gd name="adj" fmla="val 16470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1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88BC7206-B0D6-354B-B227-F050C1E8F2A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1648" y="659684"/>
            <a:ext cx="4988892" cy="1012614"/>
          </a:xfrm>
          <a:noFill/>
        </p:spPr>
        <p:txBody>
          <a:bodyPr wrap="square" rtlCol="0" anchor="ctr">
            <a:noAutofit/>
          </a:bodyPr>
          <a:lstStyle>
            <a:lvl1pPr>
              <a:buFontTx/>
              <a:buNone/>
              <a:defRPr kumimoji="0" lang="de-DE" sz="2000" b="1" i="0" u="none" strike="noStrike" cap="none" spc="0" normalizeH="0" baseline="0" dirty="0" smtClean="0">
                <a:ln>
                  <a:noFill/>
                </a:ln>
                <a:solidFill>
                  <a:srgbClr val="993333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Vielen Dank für </a:t>
            </a:r>
          </a:p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Ihre Aufmerksamkeit!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67149E-2938-5C4F-9294-E04B05784E3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069568" y="1222536"/>
            <a:ext cx="2962800" cy="784800"/>
          </a:xfrm>
          <a:blipFill>
            <a:blip r:embed="rId7"/>
            <a:stretch>
              <a:fillRect/>
            </a:stretch>
          </a:blipFill>
        </p:spPr>
        <p:txBody>
          <a:bodyPr/>
          <a:lstStyle/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0358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usgangslage/Ziel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FE190B-94E6-6E4E-B012-95E78DCC7662}"/>
              </a:ext>
            </a:extLst>
          </p:cNvPr>
          <p:cNvGrpSpPr/>
          <p:nvPr userDrawn="1"/>
        </p:nvGrpSpPr>
        <p:grpSpPr>
          <a:xfrm>
            <a:off x="672639" y="1412997"/>
            <a:ext cx="10846722" cy="4533184"/>
            <a:chOff x="683640" y="1634406"/>
            <a:chExt cx="10846722" cy="4533184"/>
          </a:xfrm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46445BAA-77A2-B54C-B175-34ABCB76AB01}"/>
                </a:ext>
              </a:extLst>
            </p:cNvPr>
            <p:cNvSpPr/>
            <p:nvPr userDrawn="1"/>
          </p:nvSpPr>
          <p:spPr>
            <a:xfrm>
              <a:off x="683640" y="1865612"/>
              <a:ext cx="10846722" cy="407077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Gerader Verbinder 4">
              <a:extLst>
                <a:ext uri="{FF2B5EF4-FFF2-40B4-BE49-F238E27FC236}">
                  <a16:creationId xmlns:a16="http://schemas.microsoft.com/office/drawing/2014/main" id="{A19A7660-F5D6-A943-8A7B-3DF0CE8CF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602058" y="1634406"/>
              <a:ext cx="987885" cy="4533184"/>
            </a:xfrm>
            <a:prstGeom prst="line">
              <a:avLst/>
            </a:prstGeom>
            <a:noFill/>
            <a:ln w="6350" cap="flat" cmpd="sng" algn="ctr">
              <a:solidFill>
                <a:srgbClr val="44546A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grpSp>
          <p:nvGrpSpPr>
            <p:cNvPr id="24" name="Gruppieren 11">
              <a:extLst>
                <a:ext uri="{FF2B5EF4-FFF2-40B4-BE49-F238E27FC236}">
                  <a16:creationId xmlns:a16="http://schemas.microsoft.com/office/drawing/2014/main" id="{9EE128A7-EFF5-F34A-BD1B-EF5117C02B88}"/>
                </a:ext>
              </a:extLst>
            </p:cNvPr>
            <p:cNvGrpSpPr/>
            <p:nvPr userDrawn="1"/>
          </p:nvGrpSpPr>
          <p:grpSpPr>
            <a:xfrm>
              <a:off x="5774691" y="3609628"/>
              <a:ext cx="642617" cy="642617"/>
              <a:chOff x="5774691" y="3734066"/>
              <a:chExt cx="642617" cy="642617"/>
            </a:xfrm>
          </p:grpSpPr>
          <p:sp>
            <p:nvSpPr>
              <p:cNvPr id="25" name="Ellipse 5">
                <a:extLst>
                  <a:ext uri="{FF2B5EF4-FFF2-40B4-BE49-F238E27FC236}">
                    <a16:creationId xmlns:a16="http://schemas.microsoft.com/office/drawing/2014/main" id="{9223B659-E0D3-4D4D-AE4A-DF9CA6D82449}"/>
                  </a:ext>
                </a:extLst>
              </p:cNvPr>
              <p:cNvSpPr/>
              <p:nvPr/>
            </p:nvSpPr>
            <p:spPr>
              <a:xfrm>
                <a:off x="5774691" y="3734066"/>
                <a:ext cx="642617" cy="642617"/>
              </a:xfrm>
              <a:prstGeom prst="ellipse">
                <a:avLst/>
              </a:prstGeom>
              <a:solidFill>
                <a:srgbClr val="B3CC3E"/>
              </a:solidFill>
              <a:ln w="762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Pfeil: Chevron 6">
                <a:extLst>
                  <a:ext uri="{FF2B5EF4-FFF2-40B4-BE49-F238E27FC236}">
                    <a16:creationId xmlns:a16="http://schemas.microsoft.com/office/drawing/2014/main" id="{E7FD01B6-EDF9-8842-ADA0-30A6662A26EE}"/>
                  </a:ext>
                </a:extLst>
              </p:cNvPr>
              <p:cNvSpPr/>
              <p:nvPr/>
            </p:nvSpPr>
            <p:spPr>
              <a:xfrm>
                <a:off x="5989710" y="3922027"/>
                <a:ext cx="246232" cy="303214"/>
              </a:xfrm>
              <a:prstGeom prst="chevron">
                <a:avLst>
                  <a:gd name="adj" fmla="val 54603"/>
                </a:avLst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EBBA61-7706-8844-818D-751FBC4B778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641" y="1362955"/>
            <a:ext cx="5315415" cy="269875"/>
          </a:xfrm>
        </p:spPr>
        <p:txBody>
          <a:bodyPr/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Ausgangslage</a:t>
            </a:r>
            <a:endParaRPr lang="en-GB"/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A0855C8B-8101-9A4F-9D89-24568890D5F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45" y="1351583"/>
            <a:ext cx="5315416" cy="269875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Zielsetzung</a:t>
            </a:r>
            <a:endParaRPr lang="en-GB"/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5FEC7A31-623F-FD46-B14D-F24C388C0F0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6625" y="1951038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35" name="Content Placeholder 33">
            <a:extLst>
              <a:ext uri="{FF2B5EF4-FFF2-40B4-BE49-F238E27FC236}">
                <a16:creationId xmlns:a16="http://schemas.microsoft.com/office/drawing/2014/main" id="{ECC312CB-2151-B14B-A82F-2CE76CBEED4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751575" y="1950801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631977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655546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443077" y="1251836"/>
            <a:ext cx="11307323" cy="4937283"/>
          </a:xfrm>
          <a:prstGeom prst="rect">
            <a:avLst/>
          </a:prstGeom>
        </p:spPr>
        <p:txBody>
          <a:bodyPr lIns="0" rIns="0"/>
          <a:lstStyle>
            <a:lvl1pPr marL="171455" indent="-171455">
              <a:buClr>
                <a:srgbClr val="AF0E0D"/>
              </a:buClr>
              <a:buFont typeface="Wingdings" pitchFamily="2" charset="2"/>
              <a:buChar char="§"/>
              <a:defRPr sz="1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tandard Font Size 11</a:t>
            </a:r>
          </a:p>
          <a:p>
            <a:pPr lvl="0"/>
            <a:r>
              <a:rPr lang="en-US"/>
              <a:t>Further allowed Font Sizes: 10, 12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78" y="180000"/>
            <a:ext cx="10667056" cy="6912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A63D10-6F74-6239-10E5-C91F6B2571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133" y="175261"/>
            <a:ext cx="802419" cy="417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2114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941600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70C2C3-409D-2A48-85CE-CBAD55781659}"/>
              </a:ext>
            </a:extLst>
          </p:cNvPr>
          <p:cNvSpPr/>
          <p:nvPr userDrawn="1"/>
        </p:nvSpPr>
        <p:spPr>
          <a:xfrm>
            <a:off x="11729933" y="3"/>
            <a:ext cx="46206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de-DE" sz="180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4D780C59-7E93-8540-88D6-2E328861E51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548409" y="1287016"/>
            <a:ext cx="5643591" cy="655840"/>
          </a:xfrm>
          <a:custGeom>
            <a:avLst/>
            <a:gdLst>
              <a:gd name="connsiteX0" fmla="*/ 0 w 5643591"/>
              <a:gd name="connsiteY0" fmla="*/ 0 h 655840"/>
              <a:gd name="connsiteX1" fmla="*/ 5643591 w 5643591"/>
              <a:gd name="connsiteY1" fmla="*/ 9637 h 655840"/>
              <a:gd name="connsiteX2" fmla="*/ 5643591 w 5643591"/>
              <a:gd name="connsiteY2" fmla="*/ 655840 h 655840"/>
              <a:gd name="connsiteX3" fmla="*/ 769879 w 5643591"/>
              <a:gd name="connsiteY3" fmla="*/ 651461 h 65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3591" h="655840">
                <a:moveTo>
                  <a:pt x="0" y="0"/>
                </a:moveTo>
                <a:lnTo>
                  <a:pt x="5643591" y="9637"/>
                </a:lnTo>
                <a:lnTo>
                  <a:pt x="5643591" y="655840"/>
                </a:lnTo>
                <a:lnTo>
                  <a:pt x="769879" y="651461"/>
                </a:lnTo>
                <a:close/>
              </a:path>
            </a:pathLst>
          </a:custGeom>
          <a:solidFill>
            <a:srgbClr val="AF0E0D"/>
          </a:solidFill>
        </p:spPr>
        <p:txBody>
          <a:bodyPr wrap="square" lIns="360000" tIns="180000" rIns="432000" bIns="18000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46D3AE06-C7AD-AA48-9015-985DE0F64B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842887"/>
            <a:ext cx="12192000" cy="3411863"/>
          </a:xfrm>
          <a:prstGeom prst="rect">
            <a:avLst/>
          </a:prstGeom>
          <a:blipFill>
            <a:blip r:embed="rId6"/>
            <a:stretch>
              <a:fillRect b="54"/>
            </a:stretch>
          </a:blipFill>
        </p:spPr>
        <p:txBody>
          <a:bodyPr/>
          <a:lstStyle>
            <a:lvl1pPr marL="0" indent="0">
              <a:buNone/>
              <a:defRPr sz="1200">
                <a:highlight>
                  <a:srgbClr val="FFFF00"/>
                </a:highlight>
              </a:defRPr>
            </a:lvl1pPr>
          </a:lstStyle>
          <a:p>
            <a:r>
              <a:rPr lang="de-DE" err="1"/>
              <a:t>Blatzhalter</a:t>
            </a:r>
            <a:r>
              <a:rPr lang="de-DE"/>
              <a:t> für Bild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62DD55B4-55FD-4424-8F8B-6196ACF02BA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5436726" y="3501874"/>
            <a:ext cx="3934179" cy="2232430"/>
          </a:xfrm>
          <a:solidFill>
            <a:schemeClr val="bg2">
              <a:alpha val="9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1" name="Textplatzhalter 48">
            <a:extLst>
              <a:ext uri="{FF2B5EF4-FFF2-40B4-BE49-F238E27FC236}">
                <a16:creationId xmlns:a16="http://schemas.microsoft.com/office/drawing/2014/main" id="{FA917B9B-B19E-4191-A7BB-69AA7702AD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10540" y="3662352"/>
            <a:ext cx="2880001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rgbClr val="AF0E0D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2" name="Textplatzhalter 48">
            <a:extLst>
              <a:ext uri="{FF2B5EF4-FFF2-40B4-BE49-F238E27FC236}">
                <a16:creationId xmlns:a16="http://schemas.microsoft.com/office/drawing/2014/main" id="{10DA2BF1-28DF-444A-8D76-5E9941A7ED1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0540" y="3932583"/>
            <a:ext cx="2880000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leiter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D5C32A89-7B75-F841-B2E9-C5E5BA5E8CB4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-16184" y="657772"/>
            <a:ext cx="6885251" cy="1012614"/>
          </a:xfrm>
          <a:custGeom>
            <a:avLst/>
            <a:gdLst>
              <a:gd name="connsiteX0" fmla="*/ 5681455 w 6885251"/>
              <a:gd name="connsiteY0" fmla="*/ 0 h 1012614"/>
              <a:gd name="connsiteX1" fmla="*/ 6885251 w 6885251"/>
              <a:gd name="connsiteY1" fmla="*/ 1012614 h 1012614"/>
              <a:gd name="connsiteX2" fmla="*/ 0 w 6885251"/>
              <a:gd name="connsiteY2" fmla="*/ 967700 h 1012614"/>
              <a:gd name="connsiteX3" fmla="*/ 0 w 6885251"/>
              <a:gd name="connsiteY3" fmla="*/ 46177 h 101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5251" h="1012614">
                <a:moveTo>
                  <a:pt x="5681455" y="0"/>
                </a:moveTo>
                <a:lnTo>
                  <a:pt x="6885251" y="1012614"/>
                </a:lnTo>
                <a:lnTo>
                  <a:pt x="0" y="967700"/>
                </a:lnTo>
                <a:lnTo>
                  <a:pt x="0" y="461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251999" tIns="180000" rIns="540000" bIns="180000" anchor="ctr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4" name="Content Placeholder 18">
            <a:extLst>
              <a:ext uri="{FF2B5EF4-FFF2-40B4-BE49-F238E27FC236}">
                <a16:creationId xmlns:a16="http://schemas.microsoft.com/office/drawing/2014/main" id="{4F33C4AA-E868-4B04-AE03-FC3D963EDEB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5716753" y="4431336"/>
            <a:ext cx="2880000" cy="252000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name.nachname@academyconsult.de</a:t>
            </a:r>
            <a:endParaRPr lang="de-DE"/>
          </a:p>
        </p:txBody>
      </p:sp>
      <p:sp>
        <p:nvSpPr>
          <p:cNvPr id="75" name="Content Placeholder 18">
            <a:extLst>
              <a:ext uri="{FF2B5EF4-FFF2-40B4-BE49-F238E27FC236}">
                <a16:creationId xmlns:a16="http://schemas.microsoft.com/office/drawing/2014/main" id="{6A07D0DF-DFCA-4908-B455-8714942F764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5716752" y="4696828"/>
            <a:ext cx="2880000" cy="252000"/>
          </a:xfrm>
          <a:prstGeom prst="rect">
            <a:avLst/>
          </a:prstGeom>
        </p:spPr>
        <p:txBody>
          <a:bodyPr wrap="none" lIns="0" rIns="0" anchor="ctr"/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+49 162 1651878</a:t>
            </a:r>
          </a:p>
        </p:txBody>
      </p:sp>
      <p:sp>
        <p:nvSpPr>
          <p:cNvPr id="76" name="Content Placeholder 18">
            <a:extLst>
              <a:ext uri="{FF2B5EF4-FFF2-40B4-BE49-F238E27FC236}">
                <a16:creationId xmlns:a16="http://schemas.microsoft.com/office/drawing/2014/main" id="{11A22568-F6D4-4E0F-93EC-936905E2F3D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5716752" y="4962320"/>
            <a:ext cx="2880000" cy="252000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dresszeile 1</a:t>
            </a:r>
          </a:p>
        </p:txBody>
      </p:sp>
      <p:sp>
        <p:nvSpPr>
          <p:cNvPr id="77" name="Content Placeholder 18">
            <a:extLst>
              <a:ext uri="{FF2B5EF4-FFF2-40B4-BE49-F238E27FC236}">
                <a16:creationId xmlns:a16="http://schemas.microsoft.com/office/drawing/2014/main" id="{5FF4003D-2D02-4513-BD37-62E178511E9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5716752" y="5227813"/>
            <a:ext cx="2880000" cy="252000"/>
          </a:xfrm>
          <a:prstGeom prst="rect">
            <a:avLst/>
          </a:prstGeom>
        </p:spPr>
        <p:txBody>
          <a:bodyPr wrap="none" lIns="0" rIns="0" anchor="ctr">
            <a:no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dresszeile 2</a:t>
            </a:r>
          </a:p>
        </p:txBody>
      </p: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F7223704-E0AA-471B-8B93-7B787EC0A20C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5351761" y="3501875"/>
            <a:ext cx="84963" cy="2232430"/>
          </a:xfrm>
          <a:solidFill>
            <a:srgbClr val="AF0E0D">
              <a:alpha val="90000"/>
            </a:srgb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8" name="Bildplatzhalter 38">
            <a:extLst>
              <a:ext uri="{FF2B5EF4-FFF2-40B4-BE49-F238E27FC236}">
                <a16:creationId xmlns:a16="http://schemas.microsoft.com/office/drawing/2014/main" id="{FEC5D9A2-5B82-4A31-A5D0-A59B8DAA17F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814523" y="3501874"/>
            <a:ext cx="2215385" cy="2232430"/>
          </a:xfrm>
          <a:prstGeom prst="parallelogram">
            <a:avLst>
              <a:gd name="adj" fmla="val 16470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1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88BC7206-B0D6-354B-B227-F050C1E8F2A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1648" y="659684"/>
            <a:ext cx="4988892" cy="1012614"/>
          </a:xfrm>
          <a:noFill/>
        </p:spPr>
        <p:txBody>
          <a:bodyPr wrap="square" rtlCol="0" anchor="ctr">
            <a:noAutofit/>
          </a:bodyPr>
          <a:lstStyle>
            <a:lvl1pPr>
              <a:buFontTx/>
              <a:buNone/>
              <a:defRPr kumimoji="0" lang="de-DE" sz="20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Vielen Dank für </a:t>
            </a:r>
          </a:p>
          <a:p>
            <a:pPr marL="0"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E6E6"/>
              </a:buClr>
              <a:buSzTx/>
              <a:buFontTx/>
              <a:buNone/>
              <a:tabLst/>
            </a:pPr>
            <a:r>
              <a:rPr lang="de-DE"/>
              <a:t>Ihre Aufmerksamkeit!</a:t>
            </a:r>
          </a:p>
        </p:txBody>
      </p:sp>
      <p:sp>
        <p:nvSpPr>
          <p:cNvPr id="19" name="Bildplatzhalter 26">
            <a:extLst>
              <a:ext uri="{FF2B5EF4-FFF2-40B4-BE49-F238E27FC236}">
                <a16:creationId xmlns:a16="http://schemas.microsoft.com/office/drawing/2014/main" id="{4BF786C8-C16A-43D3-A054-99A25DEEE24E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8357790" y="1352093"/>
            <a:ext cx="1586311" cy="535330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46416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97403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18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443077" y="1251836"/>
            <a:ext cx="11307323" cy="4937283"/>
          </a:xfrm>
          <a:prstGeom prst="rect">
            <a:avLst/>
          </a:prstGeom>
        </p:spPr>
        <p:txBody>
          <a:bodyPr lIns="0" rIns="0"/>
          <a:lstStyle>
            <a:lvl1pPr marL="228606" indent="-228606">
              <a:buClr>
                <a:schemeClr val="tx2"/>
              </a:buClr>
              <a:buFont typeface="Wingdings" panose="05000000000000000000" pitchFamily="2" charset="2"/>
              <a:buChar char="§"/>
              <a:defRPr sz="1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tandard Font Size 11</a:t>
            </a:r>
          </a:p>
          <a:p>
            <a:pPr lvl="0"/>
            <a:r>
              <a:rPr lang="en-US"/>
              <a:t>Further allowed Font Sizes: 10, 12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88123" y="832378"/>
            <a:ext cx="10062277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3" name="Parallelogram 2">
            <a:extLst>
              <a:ext uri="{FF2B5EF4-FFF2-40B4-BE49-F238E27FC236}">
                <a16:creationId xmlns:a16="http://schemas.microsoft.com/office/drawing/2014/main" id="{017DA5BA-8021-F04F-AA05-3255841B7563}"/>
              </a:ext>
            </a:extLst>
          </p:cNvPr>
          <p:cNvSpPr/>
          <p:nvPr userDrawn="1"/>
        </p:nvSpPr>
        <p:spPr>
          <a:xfrm flipH="1">
            <a:off x="-291402" y="834307"/>
            <a:ext cx="1902794" cy="249136"/>
          </a:xfrm>
          <a:prstGeom prst="parallelogram">
            <a:avLst>
              <a:gd name="adj" fmla="val 57770"/>
            </a:avLst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0">
                <a:solidFill>
                  <a:schemeClr val="tx1"/>
                </a:solidFill>
              </a:rPr>
              <a:t>Backup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E1E038-AB6A-9548-BE64-EFED1AAC2A54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4F5DD3-C78F-464B-B11D-DF9699A70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3633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usgangslage/Ziel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FE190B-94E6-6E4E-B012-95E78DCC7662}"/>
              </a:ext>
            </a:extLst>
          </p:cNvPr>
          <p:cNvGrpSpPr/>
          <p:nvPr userDrawn="1"/>
        </p:nvGrpSpPr>
        <p:grpSpPr>
          <a:xfrm>
            <a:off x="672639" y="1412997"/>
            <a:ext cx="10846722" cy="4533184"/>
            <a:chOff x="683640" y="1634406"/>
            <a:chExt cx="10846722" cy="4533184"/>
          </a:xfrm>
        </p:grpSpPr>
        <p:sp>
          <p:nvSpPr>
            <p:cNvPr id="21" name="Rechteck 3">
              <a:extLst>
                <a:ext uri="{FF2B5EF4-FFF2-40B4-BE49-F238E27FC236}">
                  <a16:creationId xmlns:a16="http://schemas.microsoft.com/office/drawing/2014/main" id="{46445BAA-77A2-B54C-B175-34ABCB76AB01}"/>
                </a:ext>
              </a:extLst>
            </p:cNvPr>
            <p:cNvSpPr/>
            <p:nvPr userDrawn="1"/>
          </p:nvSpPr>
          <p:spPr>
            <a:xfrm>
              <a:off x="683640" y="1865612"/>
              <a:ext cx="10846722" cy="40707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Gerader Verbinder 4">
              <a:extLst>
                <a:ext uri="{FF2B5EF4-FFF2-40B4-BE49-F238E27FC236}">
                  <a16:creationId xmlns:a16="http://schemas.microsoft.com/office/drawing/2014/main" id="{A19A7660-F5D6-A943-8A7B-3DF0CE8CF55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602058" y="1634406"/>
              <a:ext cx="987885" cy="4533184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grpSp>
          <p:nvGrpSpPr>
            <p:cNvPr id="24" name="Gruppieren 11">
              <a:extLst>
                <a:ext uri="{FF2B5EF4-FFF2-40B4-BE49-F238E27FC236}">
                  <a16:creationId xmlns:a16="http://schemas.microsoft.com/office/drawing/2014/main" id="{9EE128A7-EFF5-F34A-BD1B-EF5117C02B88}"/>
                </a:ext>
              </a:extLst>
            </p:cNvPr>
            <p:cNvGrpSpPr/>
            <p:nvPr userDrawn="1"/>
          </p:nvGrpSpPr>
          <p:grpSpPr>
            <a:xfrm>
              <a:off x="5774691" y="3609628"/>
              <a:ext cx="642617" cy="642617"/>
              <a:chOff x="5774691" y="3734066"/>
              <a:chExt cx="642617" cy="642617"/>
            </a:xfrm>
          </p:grpSpPr>
          <p:sp>
            <p:nvSpPr>
              <p:cNvPr id="25" name="Ellipse 5">
                <a:extLst>
                  <a:ext uri="{FF2B5EF4-FFF2-40B4-BE49-F238E27FC236}">
                    <a16:creationId xmlns:a16="http://schemas.microsoft.com/office/drawing/2014/main" id="{9223B659-E0D3-4D4D-AE4A-DF9CA6D82449}"/>
                  </a:ext>
                </a:extLst>
              </p:cNvPr>
              <p:cNvSpPr/>
              <p:nvPr/>
            </p:nvSpPr>
            <p:spPr>
              <a:xfrm>
                <a:off x="5774691" y="3734066"/>
                <a:ext cx="642617" cy="642617"/>
              </a:xfrm>
              <a:prstGeom prst="ellipse">
                <a:avLst/>
              </a:prstGeom>
              <a:solidFill>
                <a:schemeClr val="accent1"/>
              </a:solidFill>
              <a:ln w="7620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Pfeil: Chevron 6">
                <a:extLst>
                  <a:ext uri="{FF2B5EF4-FFF2-40B4-BE49-F238E27FC236}">
                    <a16:creationId xmlns:a16="http://schemas.microsoft.com/office/drawing/2014/main" id="{E7FD01B6-EDF9-8842-ADA0-30A6662A26EE}"/>
                  </a:ext>
                </a:extLst>
              </p:cNvPr>
              <p:cNvSpPr/>
              <p:nvPr/>
            </p:nvSpPr>
            <p:spPr>
              <a:xfrm>
                <a:off x="5989710" y="3922027"/>
                <a:ext cx="246232" cy="303214"/>
              </a:xfrm>
              <a:prstGeom prst="chevron">
                <a:avLst>
                  <a:gd name="adj" fmla="val 54603"/>
                </a:avLst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EBBA61-7706-8844-818D-751FBC4B778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72641" y="1362955"/>
            <a:ext cx="5315415" cy="269875"/>
          </a:xfrm>
        </p:spPr>
        <p:txBody>
          <a:bodyPr/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Ausgangslage</a:t>
            </a:r>
            <a:endParaRPr lang="en-GB"/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A0855C8B-8101-9A4F-9D89-24568890D5F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45" y="1351583"/>
            <a:ext cx="5315416" cy="269875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GB" err="1"/>
              <a:t>Zielsetzung</a:t>
            </a:r>
            <a:endParaRPr lang="en-GB"/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5FEC7A31-623F-FD46-B14D-F24C388C0F0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6625" y="1951038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  <p:sp>
        <p:nvSpPr>
          <p:cNvPr id="35" name="Content Placeholder 33">
            <a:extLst>
              <a:ext uri="{FF2B5EF4-FFF2-40B4-BE49-F238E27FC236}">
                <a16:creationId xmlns:a16="http://schemas.microsoft.com/office/drawing/2014/main" id="{ECC312CB-2151-B14B-A82F-2CE76CBEED4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751575" y="1950801"/>
            <a:ext cx="4438650" cy="3457575"/>
          </a:xfr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/>
              <a:t>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</a:t>
            </a:r>
          </a:p>
          <a:p>
            <a:pPr lvl="0"/>
            <a:r>
              <a:rPr lang="de-DE"/>
              <a:t>__________________________________________________________</a:t>
            </a:r>
          </a:p>
          <a:p>
            <a:pPr lvl="0"/>
            <a:r>
              <a:rPr lang="de-DE"/>
              <a:t>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</a:t>
            </a:r>
          </a:p>
          <a:p>
            <a:pPr lvl="0"/>
            <a:r>
              <a:rPr lang="de-DE"/>
              <a:t>__________________________________________________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685822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vorstellung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47D9DF-A639-DD4F-A936-306B70525363}"/>
              </a:ext>
            </a:extLst>
          </p:cNvPr>
          <p:cNvGrpSpPr/>
          <p:nvPr userDrawn="1"/>
        </p:nvGrpSpPr>
        <p:grpSpPr>
          <a:xfrm>
            <a:off x="442432" y="1374409"/>
            <a:ext cx="4460933" cy="2244906"/>
            <a:chOff x="442432" y="1374409"/>
            <a:chExt cx="4431647" cy="2217893"/>
          </a:xfrm>
        </p:grpSpPr>
        <p:sp>
          <p:nvSpPr>
            <p:cNvPr id="23" name="Freihandform: Form 27">
              <a:extLst>
                <a:ext uri="{FF2B5EF4-FFF2-40B4-BE49-F238E27FC236}">
                  <a16:creationId xmlns:a16="http://schemas.microsoft.com/office/drawing/2014/main" id="{4CDFF573-7970-2147-8379-009DDB50D1EB}"/>
                </a:ext>
              </a:extLst>
            </p:cNvPr>
            <p:cNvSpPr/>
            <p:nvPr userDrawn="1"/>
          </p:nvSpPr>
          <p:spPr>
            <a:xfrm>
              <a:off x="470567" y="1375645"/>
              <a:ext cx="4403512" cy="2216657"/>
            </a:xfrm>
            <a:custGeom>
              <a:avLst/>
              <a:gdLst>
                <a:gd name="connsiteX0" fmla="*/ 5204049 w 5216919"/>
                <a:gd name="connsiteY0" fmla="*/ 0 h 561995"/>
                <a:gd name="connsiteX1" fmla="*/ 5216919 w 5216919"/>
                <a:gd name="connsiteY1" fmla="*/ 0 h 561995"/>
                <a:gd name="connsiteX2" fmla="*/ 5204049 w 5216919"/>
                <a:gd name="connsiteY2" fmla="*/ 38207 h 561995"/>
                <a:gd name="connsiteX3" fmla="*/ 0 w 5216919"/>
                <a:gd name="connsiteY3" fmla="*/ 0 h 561995"/>
                <a:gd name="connsiteX4" fmla="*/ 4764053 w 5216919"/>
                <a:gd name="connsiteY4" fmla="*/ 0 h 561995"/>
                <a:gd name="connsiteX5" fmla="*/ 4642259 w 5216919"/>
                <a:gd name="connsiteY5" fmla="*/ 561995 h 561995"/>
                <a:gd name="connsiteX6" fmla="*/ 0 w 5216919"/>
                <a:gd name="connsiteY6" fmla="*/ 561995 h 56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16919" h="561995">
                  <a:moveTo>
                    <a:pt x="5204049" y="0"/>
                  </a:moveTo>
                  <a:lnTo>
                    <a:pt x="5216919" y="0"/>
                  </a:lnTo>
                  <a:lnTo>
                    <a:pt x="5204049" y="38207"/>
                  </a:lnTo>
                  <a:close/>
                  <a:moveTo>
                    <a:pt x="0" y="0"/>
                  </a:moveTo>
                  <a:lnTo>
                    <a:pt x="4764053" y="0"/>
                  </a:lnTo>
                  <a:lnTo>
                    <a:pt x="4642259" y="561995"/>
                  </a:lnTo>
                  <a:lnTo>
                    <a:pt x="0" y="56199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hteck 29">
              <a:extLst>
                <a:ext uri="{FF2B5EF4-FFF2-40B4-BE49-F238E27FC236}">
                  <a16:creationId xmlns:a16="http://schemas.microsoft.com/office/drawing/2014/main" id="{E250E47A-0103-D847-A3C1-87E509D43F89}"/>
                </a:ext>
              </a:extLst>
            </p:cNvPr>
            <p:cNvSpPr/>
            <p:nvPr userDrawn="1"/>
          </p:nvSpPr>
          <p:spPr>
            <a:xfrm>
              <a:off x="442432" y="1374409"/>
              <a:ext cx="56270" cy="22178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38">
            <a:extLst>
              <a:ext uri="{FF2B5EF4-FFF2-40B4-BE49-F238E27FC236}">
                <a16:creationId xmlns:a16="http://schemas.microsoft.com/office/drawing/2014/main" id="{1CC9CB99-457B-1445-99D8-E108C4DB45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1120" y="1555645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  <a:p>
            <a:pPr marL="0" lvl="0" indent="0">
              <a:buNone/>
            </a:pPr>
            <a:endParaRPr lang="de-DE"/>
          </a:p>
        </p:txBody>
      </p:sp>
      <p:sp>
        <p:nvSpPr>
          <p:cNvPr id="10" name="Bildplatzhalter 38">
            <a:extLst>
              <a:ext uri="{FF2B5EF4-FFF2-40B4-BE49-F238E27FC236}">
                <a16:creationId xmlns:a16="http://schemas.microsoft.com/office/drawing/2014/main" id="{859873C6-E627-E048-B231-83834940485C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9751795" y="1555645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 dirty="0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Controll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6" name="Bildplatzhalter 38">
            <a:extLst>
              <a:ext uri="{FF2B5EF4-FFF2-40B4-BE49-F238E27FC236}">
                <a16:creationId xmlns:a16="http://schemas.microsoft.com/office/drawing/2014/main" id="{D9661C9B-BA9C-C649-879F-685853BAC35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130445" y="1549315"/>
            <a:ext cx="1993938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leit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1209" y="1539969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1209" y="2092901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1209" y="1810200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leiter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911407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>
            <a:normAutofit/>
          </a:bodyPr>
          <a:lstStyle>
            <a:lvl1pPr marL="0" indent="0">
              <a:buNone/>
              <a:defRPr sz="1050" i="1">
                <a:solidFill>
                  <a:schemeClr val="tx2"/>
                </a:solidFill>
                <a:highlight>
                  <a:srgbClr val="FFFF00"/>
                </a:highlight>
                <a:latin typeface="+mn-lt"/>
              </a:defRPr>
            </a:lvl1pPr>
          </a:lstStyle>
          <a:p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r>
              <a:rPr lang="de-DE"/>
              <a:t>Transparenz auf 0% stellen</a:t>
            </a:r>
          </a:p>
        </p:txBody>
      </p:sp>
    </p:spTree>
    <p:extLst>
      <p:ext uri="{BB962C8B-B14F-4D97-AF65-F5344CB8AC3E}">
        <p14:creationId xmlns:p14="http://schemas.microsoft.com/office/powerpoint/2010/main" val="142031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vorstellung_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2347468" y="1382693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38">
            <a:extLst>
              <a:ext uri="{FF2B5EF4-FFF2-40B4-BE49-F238E27FC236}">
                <a16:creationId xmlns:a16="http://schemas.microsoft.com/office/drawing/2014/main" id="{1CC9CB99-457B-1445-99D8-E108C4DB45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1120" y="1555645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  <a:p>
            <a:pPr marL="0" lvl="0" indent="0">
              <a:buNone/>
            </a:pPr>
            <a:endParaRPr lang="de-DE"/>
          </a:p>
        </p:txBody>
      </p:sp>
      <p:sp>
        <p:nvSpPr>
          <p:cNvPr id="10" name="Bildplatzhalter 38">
            <a:extLst>
              <a:ext uri="{FF2B5EF4-FFF2-40B4-BE49-F238E27FC236}">
                <a16:creationId xmlns:a16="http://schemas.microsoft.com/office/drawing/2014/main" id="{859873C6-E627-E048-B231-83834940485C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9751795" y="1555645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Controll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6" name="Bildplatzhalter 38">
            <a:extLst>
              <a:ext uri="{FF2B5EF4-FFF2-40B4-BE49-F238E27FC236}">
                <a16:creationId xmlns:a16="http://schemas.microsoft.com/office/drawing/2014/main" id="{D9661C9B-BA9C-C649-879F-685853BAC35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2432" y="1557661"/>
            <a:ext cx="1993938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leit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51423" y="1539969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51423" y="2092901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1621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0% stell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2337047" y="1375645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2851423" y="1810200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</p:spTree>
    <p:extLst>
      <p:ext uri="{BB962C8B-B14F-4D97-AF65-F5344CB8AC3E}">
        <p14:creationId xmlns:p14="http://schemas.microsoft.com/office/powerpoint/2010/main" val="3248225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vorstellung_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35" imgH="448" progId="TCLayout.ActiveDocument.1">
                  <p:embed/>
                </p:oleObj>
              </mc:Choice>
              <mc:Fallback>
                <p:oleObj name="think-cell Folie" r:id="rId4" imgW="435" imgH="44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EC556E-A1B3-0A42-B876-66928F5D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800" b="0" i="0" baseline="0">
              <a:latin typeface="Verdana" panose="020B0604030504040204" pitchFamily="34" charset="0"/>
              <a:ea typeface="+mn-ea"/>
              <a:sym typeface="Verdana" panose="020B0604030504040204" pitchFamily="34" charset="0"/>
            </a:endParaRPr>
          </a:p>
        </p:txBody>
      </p:sp>
      <p:sp>
        <p:nvSpPr>
          <p:cNvPr id="28" name="Freihandform: Form 26">
            <a:extLst>
              <a:ext uri="{FF2B5EF4-FFF2-40B4-BE49-F238E27FC236}">
                <a16:creationId xmlns:a16="http://schemas.microsoft.com/office/drawing/2014/main" id="{F9E3E8BF-582B-AB40-B1F0-F24D797F9971}"/>
              </a:ext>
            </a:extLst>
          </p:cNvPr>
          <p:cNvSpPr/>
          <p:nvPr userDrawn="1"/>
        </p:nvSpPr>
        <p:spPr>
          <a:xfrm>
            <a:off x="4146248" y="1382693"/>
            <a:ext cx="4809650" cy="2229228"/>
          </a:xfrm>
          <a:custGeom>
            <a:avLst/>
            <a:gdLst>
              <a:gd name="connsiteX0" fmla="*/ 4003925 w 4013865"/>
              <a:gd name="connsiteY0" fmla="*/ 0 h 1961937"/>
              <a:gd name="connsiteX1" fmla="*/ 4013865 w 4013865"/>
              <a:gd name="connsiteY1" fmla="*/ 0 h 1961937"/>
              <a:gd name="connsiteX2" fmla="*/ 4003925 w 4013865"/>
              <a:gd name="connsiteY2" fmla="*/ 133382 h 1961937"/>
              <a:gd name="connsiteX3" fmla="*/ 309444 w 4013865"/>
              <a:gd name="connsiteY3" fmla="*/ 0 h 1961937"/>
              <a:gd name="connsiteX4" fmla="*/ 3664101 w 4013865"/>
              <a:gd name="connsiteY4" fmla="*/ 0 h 1961937"/>
              <a:gd name="connsiteX5" fmla="*/ 3570036 w 4013865"/>
              <a:gd name="connsiteY5" fmla="*/ 1961937 h 1961937"/>
              <a:gd name="connsiteX6" fmla="*/ 0 w 4013865"/>
              <a:gd name="connsiteY6" fmla="*/ 1961937 h 19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13865" h="1961937">
                <a:moveTo>
                  <a:pt x="4003925" y="0"/>
                </a:moveTo>
                <a:lnTo>
                  <a:pt x="4013865" y="0"/>
                </a:lnTo>
                <a:lnTo>
                  <a:pt x="4003925" y="133382"/>
                </a:lnTo>
                <a:close/>
                <a:moveTo>
                  <a:pt x="309444" y="0"/>
                </a:moveTo>
                <a:lnTo>
                  <a:pt x="3664101" y="0"/>
                </a:lnTo>
                <a:lnTo>
                  <a:pt x="3570036" y="1961937"/>
                </a:lnTo>
                <a:lnTo>
                  <a:pt x="0" y="19619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platzhalter 48">
            <a:extLst>
              <a:ext uri="{FF2B5EF4-FFF2-40B4-BE49-F238E27FC236}">
                <a16:creationId xmlns:a16="http://schemas.microsoft.com/office/drawing/2014/main" id="{91C7380C-F63A-534C-A3CF-A831AEABB6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50203" y="1539969"/>
            <a:ext cx="3306215" cy="253569"/>
          </a:xfrm>
        </p:spPr>
        <p:txBody>
          <a:bodyPr lIns="36000" rIns="3600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19" name="Textplatzhalter 48">
            <a:extLst>
              <a:ext uri="{FF2B5EF4-FFF2-40B4-BE49-F238E27FC236}">
                <a16:creationId xmlns:a16="http://schemas.microsoft.com/office/drawing/2014/main" id="{96797449-327B-3147-AD73-AD0862223C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203" y="2092901"/>
            <a:ext cx="3209964" cy="1411820"/>
          </a:xfrm>
        </p:spPr>
        <p:txBody>
          <a:bodyPr lIns="36000" r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 err="1"/>
              <a:t>B.Sc</a:t>
            </a:r>
            <a:r>
              <a:rPr lang="de-DE"/>
              <a:t>. Aktueller Studiengang  </a:t>
            </a:r>
          </a:p>
          <a:p>
            <a:pPr lvl="0"/>
            <a:r>
              <a:rPr lang="de-DE"/>
              <a:t>Schwerpunkt/</a:t>
            </a:r>
            <a:r>
              <a:rPr lang="de-DE" err="1"/>
              <a:t>e</a:t>
            </a:r>
            <a:r>
              <a:rPr lang="de-DE"/>
              <a:t>: </a:t>
            </a:r>
            <a:r>
              <a:rPr lang="de-DE" err="1"/>
              <a:t>Empirical</a:t>
            </a:r>
            <a:r>
              <a:rPr lang="de-DE"/>
              <a:t> Economics</a:t>
            </a:r>
          </a:p>
          <a:p>
            <a:pPr lvl="0"/>
            <a:endParaRPr lang="de-DE"/>
          </a:p>
          <a:p>
            <a:pPr lvl="0"/>
            <a:r>
              <a:rPr lang="de-DE" err="1"/>
              <a:t>B.Sc</a:t>
            </a:r>
            <a:r>
              <a:rPr lang="de-DE"/>
              <a:t>. Zweiter Studiengang</a:t>
            </a:r>
          </a:p>
        </p:txBody>
      </p:sp>
      <p:sp>
        <p:nvSpPr>
          <p:cNvPr id="20" name="Bildplatzhalter 38">
            <a:extLst>
              <a:ext uri="{FF2B5EF4-FFF2-40B4-BE49-F238E27FC236}">
                <a16:creationId xmlns:a16="http://schemas.microsoft.com/office/drawing/2014/main" id="{0B651C05-09BA-6F4E-A876-46476E18A03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760401" y="1379491"/>
            <a:ext cx="2215385" cy="223243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0% stellen</a:t>
            </a:r>
          </a:p>
        </p:txBody>
      </p:sp>
      <p:sp>
        <p:nvSpPr>
          <p:cNvPr id="27" name="Parallelogramm 21">
            <a:extLst>
              <a:ext uri="{FF2B5EF4-FFF2-40B4-BE49-F238E27FC236}">
                <a16:creationId xmlns:a16="http://schemas.microsoft.com/office/drawing/2014/main" id="{3C02F054-1229-6D43-976B-E0072B04715F}"/>
              </a:ext>
            </a:extLst>
          </p:cNvPr>
          <p:cNvSpPr>
            <a:spLocks noChangeAspect="1"/>
          </p:cNvSpPr>
          <p:nvPr userDrawn="1"/>
        </p:nvSpPr>
        <p:spPr>
          <a:xfrm>
            <a:off x="4135827" y="1375645"/>
            <a:ext cx="414428" cy="2229228"/>
          </a:xfrm>
          <a:prstGeom prst="parallelogram">
            <a:avLst>
              <a:gd name="adj" fmla="val 8680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2" name="Textplatzhalter 48">
            <a:extLst>
              <a:ext uri="{FF2B5EF4-FFF2-40B4-BE49-F238E27FC236}">
                <a16:creationId xmlns:a16="http://schemas.microsoft.com/office/drawing/2014/main" id="{A87E0010-8A70-AE4E-AAE6-533ED0A6AC66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4650203" y="1810200"/>
            <a:ext cx="3306214" cy="187270"/>
          </a:xfrm>
        </p:spPr>
        <p:txBody>
          <a:bodyPr lIns="36000" tIns="0" rIns="3600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i="1">
                <a:solidFill>
                  <a:schemeClr val="tx1"/>
                </a:solidFill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ojektmitglied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3AB0EA26-F09D-E145-B826-CF5F600C30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077" y="832378"/>
            <a:ext cx="11307323" cy="288000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4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Subtitle, One Line (Font Size14)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8E014F5-2D40-CA4A-AFCD-566719CD0EB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ußzeile für Quellen, Anmerkungen, 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04B21B-E669-344C-B2C2-CB4135A7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38">
            <a:extLst>
              <a:ext uri="{FF2B5EF4-FFF2-40B4-BE49-F238E27FC236}">
                <a16:creationId xmlns:a16="http://schemas.microsoft.com/office/drawing/2014/main" id="{1CC9CB99-457B-1445-99D8-E108C4DB45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35344" y="1557661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 </a:t>
            </a:r>
            <a:r>
              <a:rPr lang="de-DE" err="1"/>
              <a:t>mitglied</a:t>
            </a:r>
            <a:r>
              <a:rPr lang="de-DE"/>
              <a:t>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  <a:p>
            <a:pPr marL="0" lvl="0" indent="0">
              <a:buNone/>
            </a:pPr>
            <a:endParaRPr lang="de-DE"/>
          </a:p>
        </p:txBody>
      </p:sp>
      <p:sp>
        <p:nvSpPr>
          <p:cNvPr id="10" name="Bildplatzhalter 38">
            <a:extLst>
              <a:ext uri="{FF2B5EF4-FFF2-40B4-BE49-F238E27FC236}">
                <a16:creationId xmlns:a16="http://schemas.microsoft.com/office/drawing/2014/main" id="{859873C6-E627-E048-B231-83834940485C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9751795" y="1555645"/>
            <a:ext cx="1993846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Controll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16" name="Bildplatzhalter 38">
            <a:extLst>
              <a:ext uri="{FF2B5EF4-FFF2-40B4-BE49-F238E27FC236}">
                <a16:creationId xmlns:a16="http://schemas.microsoft.com/office/drawing/2014/main" id="{D9661C9B-BA9C-C649-879F-685853BAC35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42432" y="1557661"/>
            <a:ext cx="1993938" cy="2070000"/>
          </a:xfrm>
          <a:prstGeom prst="parallelogram">
            <a:avLst>
              <a:gd name="adj" fmla="val 16470"/>
            </a:avLst>
          </a:prstGeom>
          <a:gradFill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/>
              </a:gs>
            </a:gsLst>
            <a:lin ang="5400000" scaled="1"/>
          </a:gradFill>
        </p:spPr>
        <p:txBody>
          <a:bodyPr vert="horz" lIns="91440" tIns="45720" rIns="91440" bIns="45720" rtlCol="0">
            <a:normAutofit/>
          </a:bodyPr>
          <a:lstStyle>
            <a:lvl1pPr>
              <a:defRPr lang="de-DE" sz="1050" i="1">
                <a:solidFill>
                  <a:schemeClr val="tx2"/>
                </a:solidFill>
                <a:highlight>
                  <a:srgbClr val="FFFF00"/>
                </a:highlight>
              </a:defRPr>
            </a:lvl1pPr>
          </a:lstStyle>
          <a:p>
            <a:pPr marL="0" lvl="0" indent="0">
              <a:buNone/>
            </a:pPr>
            <a:r>
              <a:rPr lang="de-DE"/>
              <a:t>Bild (Projekt-leiter)</a:t>
            </a:r>
          </a:p>
          <a:p>
            <a:pPr marL="0" lvl="0" indent="0">
              <a:buNone/>
            </a:pPr>
            <a:r>
              <a:rPr lang="de-DE"/>
              <a:t>Transparenz auf 50% stellen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552F1EB2-BF3A-7344-891C-72F23C05C9EC}"/>
              </a:ext>
            </a:extLst>
          </p:cNvPr>
          <p:cNvSpPr/>
          <p:nvPr userDrawn="1"/>
        </p:nvSpPr>
        <p:spPr>
          <a:xfrm>
            <a:off x="427894" y="3709022"/>
            <a:ext cx="11322507" cy="24631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Inhaltsplatzhalter 27">
            <a:extLst>
              <a:ext uri="{FF2B5EF4-FFF2-40B4-BE49-F238E27FC236}">
                <a16:creationId xmlns:a16="http://schemas.microsoft.com/office/drawing/2014/main" id="{886BA4A5-86AC-5B40-93A3-A1F12040AC37}"/>
              </a:ext>
            </a:extLst>
          </p:cNvPr>
          <p:cNvSpPr>
            <a:spLocks noGrp="1"/>
          </p:cNvSpPr>
          <p:nvPr userDrawn="1">
            <p:ph sz="quarter" idx="26" hasCustomPrompt="1"/>
          </p:nvPr>
        </p:nvSpPr>
        <p:spPr>
          <a:xfrm>
            <a:off x="608693" y="4183533"/>
            <a:ext cx="10896670" cy="1817217"/>
          </a:xfrm>
        </p:spPr>
        <p:txBody>
          <a:bodyPr numCol="3" spcCol="144000">
            <a:noAutofit/>
          </a:bodyPr>
          <a:lstStyle>
            <a:lvl1pPr marL="0" indent="0">
              <a:buNone/>
              <a:defRPr sz="1200" b="0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Inhaltsplatzhalter 27">
            <a:extLst>
              <a:ext uri="{FF2B5EF4-FFF2-40B4-BE49-F238E27FC236}">
                <a16:creationId xmlns:a16="http://schemas.microsoft.com/office/drawing/2014/main" id="{779EEDB4-0666-FD4C-A12B-D1872B50C7D2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608693" y="3806123"/>
            <a:ext cx="10896670" cy="280309"/>
          </a:xfrm>
        </p:spPr>
        <p:txBody>
          <a:bodyPr numCol="2" spcCol="144000">
            <a:noAutofit/>
          </a:bodyPr>
          <a:lstStyle>
            <a:lvl1pPr marL="0" indent="0">
              <a:buNone/>
              <a:defRPr sz="1400" b="1">
                <a:latin typeface="+mn-lt"/>
                <a:cs typeface="Assistant" panose="00000500000000000000" pitchFamily="2" charset="-79"/>
              </a:defRPr>
            </a:lvl1pPr>
          </a:lstStyle>
          <a:p>
            <a:pPr lvl="0"/>
            <a:r>
              <a:rPr lang="de-DE"/>
              <a:t>Praktische Erfahrung</a:t>
            </a:r>
          </a:p>
        </p:txBody>
      </p:sp>
    </p:spTree>
    <p:extLst>
      <p:ext uri="{BB962C8B-B14F-4D97-AF65-F5344CB8AC3E}">
        <p14:creationId xmlns:p14="http://schemas.microsoft.com/office/powerpoint/2010/main" val="1625911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77378048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435" imgH="448" progId="TCLayout.ActiveDocument.1">
                  <p:embed/>
                </p:oleObj>
              </mc:Choice>
              <mc:Fallback>
                <p:oleObj name="think-cell Folie" r:id="rId19" imgW="435" imgH="4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D75A8B6-7B04-5B40-868F-C15661278A2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00" b="1" i="0" baseline="0">
              <a:latin typeface="Verdana" panose="020B0604030504040204" pitchFamily="34" charset="0"/>
              <a:ea typeface="+mj-ea"/>
              <a:sym typeface="Verdana" panose="020B0604030504040204" pitchFamily="34" charset="0"/>
            </a:endParaRPr>
          </a:p>
        </p:txBody>
      </p:sp>
      <p:sp>
        <p:nvSpPr>
          <p:cNvPr id="3" name="Textfeld 23">
            <a:extLst>
              <a:ext uri="{FF2B5EF4-FFF2-40B4-BE49-F238E27FC236}">
                <a16:creationId xmlns:a16="http://schemas.microsoft.com/office/drawing/2014/main" id="{423E55CF-E84B-9E41-B96A-F660182E3B18}"/>
              </a:ext>
            </a:extLst>
          </p:cNvPr>
          <p:cNvSpPr txBox="1"/>
          <p:nvPr userDrawn="1"/>
        </p:nvSpPr>
        <p:spPr>
          <a:xfrm>
            <a:off x="438177" y="6541681"/>
            <a:ext cx="11307323" cy="2308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4CADF-FBBB-46A7-BDCD-51F369C26748}" type="slidenum">
              <a:rPr lang="en-US" sz="900" b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l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en-US" sz="9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| </a:t>
            </a:r>
            <a:r>
              <a:rPr lang="en-US" sz="9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ppe 257 | </a:t>
            </a:r>
            <a:r>
              <a:rPr lang="en-US" sz="9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ndlagenpraktikum</a:t>
            </a:r>
            <a:r>
              <a:rPr lang="en-US" sz="9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n-US" sz="9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hnerarchitektur</a:t>
            </a:r>
            <a:r>
              <a:rPr lang="en-US" sz="9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| </a:t>
            </a:r>
            <a:r>
              <a:rPr lang="en-US" sz="900" b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rtrag</a:t>
            </a:r>
            <a:r>
              <a:rPr lang="en-US" sz="9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900" b="0" i="1" dirty="0">
                <a:solidFill>
                  <a:srgbClr val="2F70B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de-DE" sz="900" b="0" i="1" dirty="0">
                <a:solidFill>
                  <a:srgbClr val="2F70B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.08.2023</a:t>
            </a:r>
            <a:r>
              <a:rPr lang="en-US" sz="900" b="0" i="1" dirty="0">
                <a:solidFill>
                  <a:srgbClr val="2F70B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endParaRPr lang="en-US" sz="900" b="1" i="1" dirty="0">
              <a:solidFill>
                <a:srgbClr val="2F70B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Gerader Verbinder 16">
            <a:extLst>
              <a:ext uri="{FF2B5EF4-FFF2-40B4-BE49-F238E27FC236}">
                <a16:creationId xmlns:a16="http://schemas.microsoft.com/office/drawing/2014/main" id="{D48DFAEF-61C3-2E49-8905-7CA773517D3C}"/>
              </a:ext>
            </a:extLst>
          </p:cNvPr>
          <p:cNvCxnSpPr/>
          <p:nvPr userDrawn="1"/>
        </p:nvCxnSpPr>
        <p:spPr>
          <a:xfrm>
            <a:off x="443078" y="6520820"/>
            <a:ext cx="443077" cy="0"/>
          </a:xfrm>
          <a:prstGeom prst="line">
            <a:avLst/>
          </a:prstGeom>
          <a:ln w="19050">
            <a:solidFill>
              <a:srgbClr val="2F70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EB473D-EA59-1F40-9D5D-A1866184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77" y="180000"/>
            <a:ext cx="11307323" cy="6912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4A9AD22-6DA5-C042-A684-90901BC776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79" y="1250379"/>
            <a:ext cx="11307322" cy="4926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3372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46" r:id="rId2"/>
    <p:sldLayoutId id="2147483755" r:id="rId3"/>
    <p:sldLayoutId id="2147483773" r:id="rId4"/>
    <p:sldLayoutId id="2147483749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1" r:id="rId11"/>
    <p:sldLayoutId id="2147483774" r:id="rId12"/>
    <p:sldLayoutId id="2147483775" r:id="rId13"/>
    <p:sldLayoutId id="2147483776" r:id="rId14"/>
    <p:sldLayoutId id="2147483777" r:id="rId15"/>
  </p:sldLayoutIdLst>
  <p:hf hdr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AF0E0D"/>
          </a:solidFill>
          <a:latin typeface="+mj-lt"/>
          <a:ea typeface="+mj-ea"/>
          <a:cs typeface="+mj-cs"/>
        </a:defRPr>
      </a:lvl1pPr>
    </p:titleStyle>
    <p:bodyStyle>
      <a:lvl1pPr marL="171455" indent="-171455" algn="l" defTabSz="914423" rtl="0" eaLnBrk="1" latinLnBrk="0" hangingPunct="1">
        <a:lnSpc>
          <a:spcPct val="90000"/>
        </a:lnSpc>
        <a:spcBef>
          <a:spcPts val="1000"/>
        </a:spcBef>
        <a:buClr>
          <a:srgbClr val="2F70B3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9" indent="0" algn="l" defTabSz="914423" rtl="0" eaLnBrk="1" latinLnBrk="0" hangingPunct="1">
        <a:lnSpc>
          <a:spcPct val="90000"/>
        </a:lnSpc>
        <a:spcBef>
          <a:spcPts val="500"/>
        </a:spcBef>
        <a:buClr>
          <a:srgbClr val="2F70B3"/>
        </a:buClr>
        <a:buFont typeface="System Font"/>
        <a:buChar char="▸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18" indent="0" algn="l" defTabSz="914423" rtl="0" eaLnBrk="1" latinLnBrk="0" hangingPunct="1">
        <a:lnSpc>
          <a:spcPct val="90000"/>
        </a:lnSpc>
        <a:spcBef>
          <a:spcPts val="500"/>
        </a:spcBef>
        <a:buClr>
          <a:srgbClr val="2F70B3"/>
        </a:buClr>
        <a:buFont typeface="System Font"/>
        <a:buChar char="▸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27" indent="0" algn="l" defTabSz="914423" rtl="0" eaLnBrk="1" latinLnBrk="0" hangingPunct="1">
        <a:lnSpc>
          <a:spcPct val="90000"/>
        </a:lnSpc>
        <a:spcBef>
          <a:spcPts val="500"/>
        </a:spcBef>
        <a:buClr>
          <a:srgbClr val="2F70B3"/>
        </a:buClr>
        <a:buFont typeface="System Font"/>
        <a:buChar char="▸"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1440036" indent="0" algn="l" defTabSz="914423" rtl="0" eaLnBrk="1" latinLnBrk="0" hangingPunct="1">
        <a:lnSpc>
          <a:spcPct val="90000"/>
        </a:lnSpc>
        <a:spcBef>
          <a:spcPts val="500"/>
        </a:spcBef>
        <a:buClr>
          <a:srgbClr val="2F70B3"/>
        </a:buClr>
        <a:buFont typeface="System Font"/>
        <a:buChar char="▸"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05025881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435" imgH="448" progId="TCLayout.ActiveDocument.1">
                  <p:embed/>
                </p:oleObj>
              </mc:Choice>
              <mc:Fallback>
                <p:oleObj name="think-cell Folie" r:id="rId12" imgW="435" imgH="4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D75A8B6-7B04-5B40-868F-C15661278A2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Textfeld 23">
            <a:extLst>
              <a:ext uri="{FF2B5EF4-FFF2-40B4-BE49-F238E27FC236}">
                <a16:creationId xmlns:a16="http://schemas.microsoft.com/office/drawing/2014/main" id="{423E55CF-E84B-9E41-B96A-F660182E3B18}"/>
              </a:ext>
            </a:extLst>
          </p:cNvPr>
          <p:cNvSpPr txBox="1"/>
          <p:nvPr userDrawn="1"/>
        </p:nvSpPr>
        <p:spPr>
          <a:xfrm>
            <a:off x="438177" y="6541681"/>
            <a:ext cx="11307323" cy="230832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4CADF-FBBB-46A7-BDCD-51F369C26748}" type="slidenum">
              <a:rPr lang="de-DE" sz="900" b="1" noProof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l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sz="900" b="1" noProof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| </a:t>
            </a:r>
            <a:r>
              <a:rPr lang="de-DE" sz="900" b="0" noProof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sarbeitung einer Unternehmensstrategie unter Berücksichtigung von Nachhaltigkeitsaspekten | Version 1.0 | Angebot </a:t>
            </a:r>
            <a:r>
              <a:rPr lang="de-DE" sz="900" b="0" noProof="0">
                <a:solidFill>
                  <a:srgbClr val="B3CC3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de-DE" sz="900" b="0" i="0" noProof="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. September 2020</a:t>
            </a:r>
            <a:endParaRPr lang="de-DE" sz="900" b="1" i="0" noProof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Gerader Verbinder 16">
            <a:extLst>
              <a:ext uri="{FF2B5EF4-FFF2-40B4-BE49-F238E27FC236}">
                <a16:creationId xmlns:a16="http://schemas.microsoft.com/office/drawing/2014/main" id="{D48DFAEF-61C3-2E49-8905-7CA773517D3C}"/>
              </a:ext>
            </a:extLst>
          </p:cNvPr>
          <p:cNvCxnSpPr/>
          <p:nvPr userDrawn="1"/>
        </p:nvCxnSpPr>
        <p:spPr>
          <a:xfrm>
            <a:off x="443078" y="6520820"/>
            <a:ext cx="443077" cy="0"/>
          </a:xfrm>
          <a:prstGeom prst="line">
            <a:avLst/>
          </a:prstGeom>
          <a:ln w="19050">
            <a:solidFill>
              <a:srgbClr val="B3CC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23">
            <a:extLst>
              <a:ext uri="{FF2B5EF4-FFF2-40B4-BE49-F238E27FC236}">
                <a16:creationId xmlns:a16="http://schemas.microsoft.com/office/drawing/2014/main" id="{F2FF92BB-2054-0040-96B0-F51A3699B652}"/>
              </a:ext>
            </a:extLst>
          </p:cNvPr>
          <p:cNvSpPr txBox="1"/>
          <p:nvPr userDrawn="1"/>
        </p:nvSpPr>
        <p:spPr>
          <a:xfrm>
            <a:off x="11913040" y="180000"/>
            <a:ext cx="215444" cy="6578067"/>
          </a:xfrm>
          <a:prstGeom prst="rect">
            <a:avLst/>
          </a:prstGeom>
          <a:noFill/>
        </p:spPr>
        <p:txBody>
          <a:bodyPr vert="vert270" wrap="square" lIns="0" rIns="0" rtlCol="0" anchor="b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700" b="0" i="1" u="none" strike="noStrike" kern="1200">
              <a:solidFill>
                <a:schemeClr val="bg2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 b="0" i="1" u="none" strike="noStrike" kern="1200">
                <a:solidFill>
                  <a:schemeClr val="bg2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Copyright 2020 Garkisch-Engel GbR – Alle Rechte vorbehalten</a:t>
            </a:r>
            <a:endParaRPr lang="en-US" sz="700" b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EB473D-EA59-1F40-9D5D-A1866184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077" y="180000"/>
            <a:ext cx="11307323" cy="69120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4A9AD22-6DA5-C042-A684-90901BC776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79" y="1250379"/>
            <a:ext cx="11307322" cy="4926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18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</p:sldLayoutIdLst>
  <p:hf hdr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5" indent="-171455" algn="l" defTabSz="914423" rtl="0" eaLnBrk="1" latinLnBrk="0" hangingPunct="1">
        <a:lnSpc>
          <a:spcPct val="90000"/>
        </a:lnSpc>
        <a:spcBef>
          <a:spcPts val="1000"/>
        </a:spcBef>
        <a:buClr>
          <a:srgbClr val="B3CC3E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9" indent="0" algn="l" defTabSz="914423" rtl="0" eaLnBrk="1" latinLnBrk="0" hangingPunct="1">
        <a:lnSpc>
          <a:spcPct val="90000"/>
        </a:lnSpc>
        <a:spcBef>
          <a:spcPts val="500"/>
        </a:spcBef>
        <a:buClr>
          <a:srgbClr val="B3CC3E"/>
        </a:buClr>
        <a:buFont typeface="System Font"/>
        <a:buChar char="▸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18" indent="0" algn="l" defTabSz="914423" rtl="0" eaLnBrk="1" latinLnBrk="0" hangingPunct="1">
        <a:lnSpc>
          <a:spcPct val="90000"/>
        </a:lnSpc>
        <a:spcBef>
          <a:spcPts val="500"/>
        </a:spcBef>
        <a:buClr>
          <a:srgbClr val="B3CC3E"/>
        </a:buClr>
        <a:buFont typeface="System Font"/>
        <a:buChar char="▸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27" indent="0" algn="l" defTabSz="914423" rtl="0" eaLnBrk="1" latinLnBrk="0" hangingPunct="1">
        <a:lnSpc>
          <a:spcPct val="90000"/>
        </a:lnSpc>
        <a:spcBef>
          <a:spcPts val="500"/>
        </a:spcBef>
        <a:buClr>
          <a:srgbClr val="B3CC3E"/>
        </a:buClr>
        <a:buFont typeface="System Font"/>
        <a:buChar char="▸"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1440036" indent="0" algn="l" defTabSz="914423" rtl="0" eaLnBrk="1" latinLnBrk="0" hangingPunct="1">
        <a:lnSpc>
          <a:spcPct val="90000"/>
        </a:lnSpc>
        <a:spcBef>
          <a:spcPts val="500"/>
        </a:spcBef>
        <a:buClr>
          <a:srgbClr val="B3CC3E"/>
        </a:buClr>
        <a:buFont typeface="System Font"/>
        <a:buChar char="▸"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sv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Relationship Id="rId6" Type="http://schemas.openxmlformats.org/officeDocument/2006/relationships/image" Target="../media/image25.png"/><Relationship Id="rId11" Type="http://schemas.openxmlformats.org/officeDocument/2006/relationships/image" Target="../media/image17.png"/><Relationship Id="rId5" Type="http://schemas.openxmlformats.org/officeDocument/2006/relationships/image" Target="../media/image14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sv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5.xml"/><Relationship Id="rId6" Type="http://schemas.openxmlformats.org/officeDocument/2006/relationships/image" Target="../media/image25.png"/><Relationship Id="rId11" Type="http://schemas.openxmlformats.org/officeDocument/2006/relationships/image" Target="../media/image17.png"/><Relationship Id="rId5" Type="http://schemas.openxmlformats.org/officeDocument/2006/relationships/image" Target="../media/image14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4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13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8.xml"/><Relationship Id="rId6" Type="http://schemas.openxmlformats.org/officeDocument/2006/relationships/image" Target="../media/image28.png"/><Relationship Id="rId5" Type="http://schemas.openxmlformats.org/officeDocument/2006/relationships/image" Target="../media/image14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3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1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6" Type="http://schemas.openxmlformats.org/officeDocument/2006/relationships/image" Target="../media/image23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6.sv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Relationship Id="rId6" Type="http://schemas.openxmlformats.org/officeDocument/2006/relationships/image" Target="../media/image25.png"/><Relationship Id="rId11" Type="http://schemas.openxmlformats.org/officeDocument/2006/relationships/image" Target="../media/image17.png"/><Relationship Id="rId5" Type="http://schemas.openxmlformats.org/officeDocument/2006/relationships/image" Target="../media/image14.emf"/><Relationship Id="rId10" Type="http://schemas.openxmlformats.org/officeDocument/2006/relationships/image" Target="../media/image16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06EEBCC4-66FF-4216-8207-7DA8C8F36B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184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06EEBCC4-66FF-4216-8207-7DA8C8F36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18" name="Gruppieren 1117">
            <a:extLst>
              <a:ext uri="{FF2B5EF4-FFF2-40B4-BE49-F238E27FC236}">
                <a16:creationId xmlns:a16="http://schemas.microsoft.com/office/drawing/2014/main" id="{72A7D543-0082-B14A-C15D-84B4C976C156}"/>
              </a:ext>
            </a:extLst>
          </p:cNvPr>
          <p:cNvGrpSpPr/>
          <p:nvPr/>
        </p:nvGrpSpPr>
        <p:grpSpPr>
          <a:xfrm>
            <a:off x="-37204" y="526956"/>
            <a:ext cx="12306749" cy="3756199"/>
            <a:chOff x="-37204" y="526956"/>
            <a:chExt cx="12306749" cy="3756199"/>
          </a:xfrm>
        </p:grpSpPr>
        <p:sp>
          <p:nvSpPr>
            <p:cNvPr id="1091" name="Rechteck 1090">
              <a:extLst>
                <a:ext uri="{FF2B5EF4-FFF2-40B4-BE49-F238E27FC236}">
                  <a16:creationId xmlns:a16="http://schemas.microsoft.com/office/drawing/2014/main" id="{FD890E88-64D6-2F9B-947D-425889153490}"/>
                </a:ext>
              </a:extLst>
            </p:cNvPr>
            <p:cNvSpPr/>
            <p:nvPr/>
          </p:nvSpPr>
          <p:spPr>
            <a:xfrm>
              <a:off x="-37204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2" name="Rechteck 1091">
              <a:extLst>
                <a:ext uri="{FF2B5EF4-FFF2-40B4-BE49-F238E27FC236}">
                  <a16:creationId xmlns:a16="http://schemas.microsoft.com/office/drawing/2014/main" id="{886DA080-7A9C-12E5-6E7A-0BBB9FB5FB36}"/>
                </a:ext>
              </a:extLst>
            </p:cNvPr>
            <p:cNvSpPr/>
            <p:nvPr/>
          </p:nvSpPr>
          <p:spPr>
            <a:xfrm>
              <a:off x="909469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3" name="Rechteck 1092">
              <a:extLst>
                <a:ext uri="{FF2B5EF4-FFF2-40B4-BE49-F238E27FC236}">
                  <a16:creationId xmlns:a16="http://schemas.microsoft.com/office/drawing/2014/main" id="{48BE3C7F-FF77-8E11-E6F4-6FDED34B034E}"/>
                </a:ext>
              </a:extLst>
            </p:cNvPr>
            <p:cNvSpPr/>
            <p:nvPr/>
          </p:nvSpPr>
          <p:spPr>
            <a:xfrm>
              <a:off x="1856142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4" name="Rechteck 1093">
              <a:extLst>
                <a:ext uri="{FF2B5EF4-FFF2-40B4-BE49-F238E27FC236}">
                  <a16:creationId xmlns:a16="http://schemas.microsoft.com/office/drawing/2014/main" id="{0D872BF2-CFF3-024C-545E-C57F4A704B80}"/>
                </a:ext>
              </a:extLst>
            </p:cNvPr>
            <p:cNvSpPr/>
            <p:nvPr/>
          </p:nvSpPr>
          <p:spPr>
            <a:xfrm>
              <a:off x="2802815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5" name="Rechteck 1094">
              <a:extLst>
                <a:ext uri="{FF2B5EF4-FFF2-40B4-BE49-F238E27FC236}">
                  <a16:creationId xmlns:a16="http://schemas.microsoft.com/office/drawing/2014/main" id="{A7D9306C-6340-BF7A-820D-7095B0BA3C62}"/>
                </a:ext>
              </a:extLst>
            </p:cNvPr>
            <p:cNvSpPr/>
            <p:nvPr/>
          </p:nvSpPr>
          <p:spPr>
            <a:xfrm>
              <a:off x="3749488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6" name="Rechteck 1095">
              <a:extLst>
                <a:ext uri="{FF2B5EF4-FFF2-40B4-BE49-F238E27FC236}">
                  <a16:creationId xmlns:a16="http://schemas.microsoft.com/office/drawing/2014/main" id="{5D15C0EB-58E8-9CBA-F82D-C9D97DD71C55}"/>
                </a:ext>
              </a:extLst>
            </p:cNvPr>
            <p:cNvSpPr/>
            <p:nvPr/>
          </p:nvSpPr>
          <p:spPr>
            <a:xfrm>
              <a:off x="6589507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7" name="Rechteck 1096">
              <a:extLst>
                <a:ext uri="{FF2B5EF4-FFF2-40B4-BE49-F238E27FC236}">
                  <a16:creationId xmlns:a16="http://schemas.microsoft.com/office/drawing/2014/main" id="{6F9FD305-194E-7DBD-AF10-FEC98D2C2584}"/>
                </a:ext>
              </a:extLst>
            </p:cNvPr>
            <p:cNvSpPr/>
            <p:nvPr/>
          </p:nvSpPr>
          <p:spPr>
            <a:xfrm>
              <a:off x="7536180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8" name="Rechteck 1097">
              <a:extLst>
                <a:ext uri="{FF2B5EF4-FFF2-40B4-BE49-F238E27FC236}">
                  <a16:creationId xmlns:a16="http://schemas.microsoft.com/office/drawing/2014/main" id="{7CB06514-01C2-1BC1-6779-129C85C7226C}"/>
                </a:ext>
              </a:extLst>
            </p:cNvPr>
            <p:cNvSpPr/>
            <p:nvPr/>
          </p:nvSpPr>
          <p:spPr>
            <a:xfrm>
              <a:off x="8482853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99" name="Rechteck 1098">
              <a:extLst>
                <a:ext uri="{FF2B5EF4-FFF2-40B4-BE49-F238E27FC236}">
                  <a16:creationId xmlns:a16="http://schemas.microsoft.com/office/drawing/2014/main" id="{24F8D6FA-96BD-90E7-4937-99B4CEBB6F83}"/>
                </a:ext>
              </a:extLst>
            </p:cNvPr>
            <p:cNvSpPr/>
            <p:nvPr/>
          </p:nvSpPr>
          <p:spPr>
            <a:xfrm>
              <a:off x="9429526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0" name="Rechteck 1099">
              <a:extLst>
                <a:ext uri="{FF2B5EF4-FFF2-40B4-BE49-F238E27FC236}">
                  <a16:creationId xmlns:a16="http://schemas.microsoft.com/office/drawing/2014/main" id="{8057E074-E66E-4EDA-F4AB-94C357667239}"/>
                </a:ext>
              </a:extLst>
            </p:cNvPr>
            <p:cNvSpPr/>
            <p:nvPr/>
          </p:nvSpPr>
          <p:spPr>
            <a:xfrm>
              <a:off x="10376199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1" name="Rechteck 1100">
              <a:extLst>
                <a:ext uri="{FF2B5EF4-FFF2-40B4-BE49-F238E27FC236}">
                  <a16:creationId xmlns:a16="http://schemas.microsoft.com/office/drawing/2014/main" id="{4FF9EF6F-7519-6C6E-4E9C-152A4481E79B}"/>
                </a:ext>
              </a:extLst>
            </p:cNvPr>
            <p:cNvSpPr/>
            <p:nvPr/>
          </p:nvSpPr>
          <p:spPr>
            <a:xfrm>
              <a:off x="11322872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2" name="Rechteck 1101">
              <a:extLst>
                <a:ext uri="{FF2B5EF4-FFF2-40B4-BE49-F238E27FC236}">
                  <a16:creationId xmlns:a16="http://schemas.microsoft.com/office/drawing/2014/main" id="{7E2275BF-C854-A6AF-A3FE-BBE02E790BF7}"/>
                </a:ext>
              </a:extLst>
            </p:cNvPr>
            <p:cNvSpPr/>
            <p:nvPr/>
          </p:nvSpPr>
          <p:spPr>
            <a:xfrm>
              <a:off x="4696161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3" name="Rechteck 1102">
              <a:extLst>
                <a:ext uri="{FF2B5EF4-FFF2-40B4-BE49-F238E27FC236}">
                  <a16:creationId xmlns:a16="http://schemas.microsoft.com/office/drawing/2014/main" id="{9AE373A0-F9A8-67D7-794C-C6A7F54812E2}"/>
                </a:ext>
              </a:extLst>
            </p:cNvPr>
            <p:cNvSpPr/>
            <p:nvPr/>
          </p:nvSpPr>
          <p:spPr>
            <a:xfrm>
              <a:off x="5642834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5" name="Rechteck 1064">
              <a:extLst>
                <a:ext uri="{FF2B5EF4-FFF2-40B4-BE49-F238E27FC236}">
                  <a16:creationId xmlns:a16="http://schemas.microsoft.com/office/drawing/2014/main" id="{750E24AF-6A92-E13C-C1E2-80A5713E7235}"/>
                </a:ext>
              </a:extLst>
            </p:cNvPr>
            <p:cNvSpPr/>
            <p:nvPr/>
          </p:nvSpPr>
          <p:spPr>
            <a:xfrm>
              <a:off x="-37204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6" name="Rechteck 1065">
              <a:extLst>
                <a:ext uri="{FF2B5EF4-FFF2-40B4-BE49-F238E27FC236}">
                  <a16:creationId xmlns:a16="http://schemas.microsoft.com/office/drawing/2014/main" id="{E5B24A4B-A2E9-72F3-AC5D-6FE5EAF2B101}"/>
                </a:ext>
              </a:extLst>
            </p:cNvPr>
            <p:cNvSpPr/>
            <p:nvPr/>
          </p:nvSpPr>
          <p:spPr>
            <a:xfrm>
              <a:off x="909469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7" name="Rechteck 1066">
              <a:extLst>
                <a:ext uri="{FF2B5EF4-FFF2-40B4-BE49-F238E27FC236}">
                  <a16:creationId xmlns:a16="http://schemas.microsoft.com/office/drawing/2014/main" id="{A32AA773-96A5-1ADA-1D9D-98BA3DAB3386}"/>
                </a:ext>
              </a:extLst>
            </p:cNvPr>
            <p:cNvSpPr/>
            <p:nvPr/>
          </p:nvSpPr>
          <p:spPr>
            <a:xfrm>
              <a:off x="1856142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8" name="Rechteck 1067">
              <a:extLst>
                <a:ext uri="{FF2B5EF4-FFF2-40B4-BE49-F238E27FC236}">
                  <a16:creationId xmlns:a16="http://schemas.microsoft.com/office/drawing/2014/main" id="{7081438E-DA14-D429-8B57-1C8E899E9FFE}"/>
                </a:ext>
              </a:extLst>
            </p:cNvPr>
            <p:cNvSpPr/>
            <p:nvPr/>
          </p:nvSpPr>
          <p:spPr>
            <a:xfrm>
              <a:off x="2802815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9" name="Rechteck 1068">
              <a:extLst>
                <a:ext uri="{FF2B5EF4-FFF2-40B4-BE49-F238E27FC236}">
                  <a16:creationId xmlns:a16="http://schemas.microsoft.com/office/drawing/2014/main" id="{F834C910-44D1-776B-8E7C-98BA1E2B5645}"/>
                </a:ext>
              </a:extLst>
            </p:cNvPr>
            <p:cNvSpPr/>
            <p:nvPr/>
          </p:nvSpPr>
          <p:spPr>
            <a:xfrm>
              <a:off x="3749488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0" name="Rechteck 1069">
              <a:extLst>
                <a:ext uri="{FF2B5EF4-FFF2-40B4-BE49-F238E27FC236}">
                  <a16:creationId xmlns:a16="http://schemas.microsoft.com/office/drawing/2014/main" id="{F624D840-F870-A062-CDA6-891BB0766CBC}"/>
                </a:ext>
              </a:extLst>
            </p:cNvPr>
            <p:cNvSpPr/>
            <p:nvPr/>
          </p:nvSpPr>
          <p:spPr>
            <a:xfrm>
              <a:off x="6589507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1" name="Rechteck 1070">
              <a:extLst>
                <a:ext uri="{FF2B5EF4-FFF2-40B4-BE49-F238E27FC236}">
                  <a16:creationId xmlns:a16="http://schemas.microsoft.com/office/drawing/2014/main" id="{2DECC9C4-1790-915C-8FC2-3803745D9D0E}"/>
                </a:ext>
              </a:extLst>
            </p:cNvPr>
            <p:cNvSpPr/>
            <p:nvPr/>
          </p:nvSpPr>
          <p:spPr>
            <a:xfrm>
              <a:off x="7536180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2" name="Rechteck 1071">
              <a:extLst>
                <a:ext uri="{FF2B5EF4-FFF2-40B4-BE49-F238E27FC236}">
                  <a16:creationId xmlns:a16="http://schemas.microsoft.com/office/drawing/2014/main" id="{E1497ABD-7004-FB5F-756B-427957D124A6}"/>
                </a:ext>
              </a:extLst>
            </p:cNvPr>
            <p:cNvSpPr/>
            <p:nvPr/>
          </p:nvSpPr>
          <p:spPr>
            <a:xfrm>
              <a:off x="8482853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3" name="Rechteck 1072">
              <a:extLst>
                <a:ext uri="{FF2B5EF4-FFF2-40B4-BE49-F238E27FC236}">
                  <a16:creationId xmlns:a16="http://schemas.microsoft.com/office/drawing/2014/main" id="{275260BC-40E4-4484-4C1F-E6B2301958C0}"/>
                </a:ext>
              </a:extLst>
            </p:cNvPr>
            <p:cNvSpPr/>
            <p:nvPr/>
          </p:nvSpPr>
          <p:spPr>
            <a:xfrm>
              <a:off x="9429526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4" name="Rechteck 1073">
              <a:extLst>
                <a:ext uri="{FF2B5EF4-FFF2-40B4-BE49-F238E27FC236}">
                  <a16:creationId xmlns:a16="http://schemas.microsoft.com/office/drawing/2014/main" id="{27F77CB2-24EA-6112-F239-CA95C789D23E}"/>
                </a:ext>
              </a:extLst>
            </p:cNvPr>
            <p:cNvSpPr/>
            <p:nvPr/>
          </p:nvSpPr>
          <p:spPr>
            <a:xfrm>
              <a:off x="10376199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5" name="Rechteck 1074">
              <a:extLst>
                <a:ext uri="{FF2B5EF4-FFF2-40B4-BE49-F238E27FC236}">
                  <a16:creationId xmlns:a16="http://schemas.microsoft.com/office/drawing/2014/main" id="{A2FC170D-3FA8-33A4-FA66-5769EAB91824}"/>
                </a:ext>
              </a:extLst>
            </p:cNvPr>
            <p:cNvSpPr/>
            <p:nvPr/>
          </p:nvSpPr>
          <p:spPr>
            <a:xfrm>
              <a:off x="11322872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6" name="Rechteck 1075">
              <a:extLst>
                <a:ext uri="{FF2B5EF4-FFF2-40B4-BE49-F238E27FC236}">
                  <a16:creationId xmlns:a16="http://schemas.microsoft.com/office/drawing/2014/main" id="{9E36E2D2-CCDB-67C1-36A1-E9411927012D}"/>
                </a:ext>
              </a:extLst>
            </p:cNvPr>
            <p:cNvSpPr/>
            <p:nvPr/>
          </p:nvSpPr>
          <p:spPr>
            <a:xfrm>
              <a:off x="4696161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77" name="Rechteck 1076">
              <a:extLst>
                <a:ext uri="{FF2B5EF4-FFF2-40B4-BE49-F238E27FC236}">
                  <a16:creationId xmlns:a16="http://schemas.microsoft.com/office/drawing/2014/main" id="{EBC849A9-5A10-808B-9165-D21891258201}"/>
                </a:ext>
              </a:extLst>
            </p:cNvPr>
            <p:cNvSpPr/>
            <p:nvPr/>
          </p:nvSpPr>
          <p:spPr>
            <a:xfrm>
              <a:off x="5642834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9D256C0A-37AD-6D2A-725E-EC117C747070}"/>
                </a:ext>
              </a:extLst>
            </p:cNvPr>
            <p:cNvSpPr/>
            <p:nvPr/>
          </p:nvSpPr>
          <p:spPr>
            <a:xfrm>
              <a:off x="-37204" y="526956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97284EA1-41DF-A3D6-D3F0-034F2F0146E8}"/>
                </a:ext>
              </a:extLst>
            </p:cNvPr>
            <p:cNvSpPr/>
            <p:nvPr/>
          </p:nvSpPr>
          <p:spPr>
            <a:xfrm>
              <a:off x="909469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A572350-7849-451D-5936-D7F67DD51A1E}"/>
                </a:ext>
              </a:extLst>
            </p:cNvPr>
            <p:cNvSpPr/>
            <p:nvPr/>
          </p:nvSpPr>
          <p:spPr>
            <a:xfrm>
              <a:off x="1856142" y="526956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0A774F93-85D6-0E06-9A1B-0E8B22AF4F47}"/>
                </a:ext>
              </a:extLst>
            </p:cNvPr>
            <p:cNvSpPr/>
            <p:nvPr/>
          </p:nvSpPr>
          <p:spPr>
            <a:xfrm>
              <a:off x="2802815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D3B7D30-5E72-1E31-3C55-F4D97B8BFFAE}"/>
                </a:ext>
              </a:extLst>
            </p:cNvPr>
            <p:cNvSpPr/>
            <p:nvPr/>
          </p:nvSpPr>
          <p:spPr>
            <a:xfrm>
              <a:off x="3749488" y="526956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5DAEDFF-0B47-15FE-E5D2-4A9C795128DC}"/>
                </a:ext>
              </a:extLst>
            </p:cNvPr>
            <p:cNvSpPr/>
            <p:nvPr/>
          </p:nvSpPr>
          <p:spPr>
            <a:xfrm>
              <a:off x="6589507" y="526956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7530099-7775-B842-E834-481B4C4BA4D3}"/>
                </a:ext>
              </a:extLst>
            </p:cNvPr>
            <p:cNvSpPr/>
            <p:nvPr/>
          </p:nvSpPr>
          <p:spPr>
            <a:xfrm>
              <a:off x="7536180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41A21833-1E5E-4DCF-2245-5356D44A1BD9}"/>
                </a:ext>
              </a:extLst>
            </p:cNvPr>
            <p:cNvSpPr/>
            <p:nvPr/>
          </p:nvSpPr>
          <p:spPr>
            <a:xfrm>
              <a:off x="8482853" y="526956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A59970A8-C633-74DC-3707-AA7603A013E2}"/>
                </a:ext>
              </a:extLst>
            </p:cNvPr>
            <p:cNvSpPr/>
            <p:nvPr/>
          </p:nvSpPr>
          <p:spPr>
            <a:xfrm>
              <a:off x="9429526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96741A62-0BFC-D3D1-3219-2469C28E1077}"/>
                </a:ext>
              </a:extLst>
            </p:cNvPr>
            <p:cNvSpPr/>
            <p:nvPr/>
          </p:nvSpPr>
          <p:spPr>
            <a:xfrm>
              <a:off x="10376199" y="526956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F25FC3D6-1296-D49E-DFF3-EB80A8944E12}"/>
                </a:ext>
              </a:extLst>
            </p:cNvPr>
            <p:cNvSpPr/>
            <p:nvPr/>
          </p:nvSpPr>
          <p:spPr>
            <a:xfrm>
              <a:off x="11322872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3" name="Rechteck 1062">
              <a:extLst>
                <a:ext uri="{FF2B5EF4-FFF2-40B4-BE49-F238E27FC236}">
                  <a16:creationId xmlns:a16="http://schemas.microsoft.com/office/drawing/2014/main" id="{2A6E3F41-7B1D-2AE6-F95B-27EE00D27D45}"/>
                </a:ext>
              </a:extLst>
            </p:cNvPr>
            <p:cNvSpPr/>
            <p:nvPr/>
          </p:nvSpPr>
          <p:spPr>
            <a:xfrm>
              <a:off x="4696161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064" name="Rechteck 1063">
              <a:extLst>
                <a:ext uri="{FF2B5EF4-FFF2-40B4-BE49-F238E27FC236}">
                  <a16:creationId xmlns:a16="http://schemas.microsoft.com/office/drawing/2014/main" id="{346B868E-2C34-3581-3AAE-5089878B86ED}"/>
                </a:ext>
              </a:extLst>
            </p:cNvPr>
            <p:cNvSpPr/>
            <p:nvPr/>
          </p:nvSpPr>
          <p:spPr>
            <a:xfrm>
              <a:off x="5642834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4" name="Rechteck 1103">
              <a:extLst>
                <a:ext uri="{FF2B5EF4-FFF2-40B4-BE49-F238E27FC236}">
                  <a16:creationId xmlns:a16="http://schemas.microsoft.com/office/drawing/2014/main" id="{9CA70354-C2A4-C0B7-CEF6-218AC0C66F65}"/>
                </a:ext>
              </a:extLst>
            </p:cNvPr>
            <p:cNvSpPr/>
            <p:nvPr/>
          </p:nvSpPr>
          <p:spPr>
            <a:xfrm>
              <a:off x="-37204" y="3336482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5" name="Rechteck 1104">
              <a:extLst>
                <a:ext uri="{FF2B5EF4-FFF2-40B4-BE49-F238E27FC236}">
                  <a16:creationId xmlns:a16="http://schemas.microsoft.com/office/drawing/2014/main" id="{100FB90B-2410-0483-59BA-B49E63886FF6}"/>
                </a:ext>
              </a:extLst>
            </p:cNvPr>
            <p:cNvSpPr/>
            <p:nvPr/>
          </p:nvSpPr>
          <p:spPr>
            <a:xfrm>
              <a:off x="909469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6" name="Rechteck 1105">
              <a:extLst>
                <a:ext uri="{FF2B5EF4-FFF2-40B4-BE49-F238E27FC236}">
                  <a16:creationId xmlns:a16="http://schemas.microsoft.com/office/drawing/2014/main" id="{3F81FDB2-7332-7B8C-0900-FE658B4BF31A}"/>
                </a:ext>
              </a:extLst>
            </p:cNvPr>
            <p:cNvSpPr/>
            <p:nvPr/>
          </p:nvSpPr>
          <p:spPr>
            <a:xfrm>
              <a:off x="1856142" y="3336482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7" name="Rechteck 1106">
              <a:extLst>
                <a:ext uri="{FF2B5EF4-FFF2-40B4-BE49-F238E27FC236}">
                  <a16:creationId xmlns:a16="http://schemas.microsoft.com/office/drawing/2014/main" id="{90D82499-F930-A4F9-2C13-6D9AB55326AF}"/>
                </a:ext>
              </a:extLst>
            </p:cNvPr>
            <p:cNvSpPr/>
            <p:nvPr/>
          </p:nvSpPr>
          <p:spPr>
            <a:xfrm>
              <a:off x="2802815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8" name="Rechteck 1107">
              <a:extLst>
                <a:ext uri="{FF2B5EF4-FFF2-40B4-BE49-F238E27FC236}">
                  <a16:creationId xmlns:a16="http://schemas.microsoft.com/office/drawing/2014/main" id="{96A98D10-421A-6E63-4E3E-FD8FD5BACBB2}"/>
                </a:ext>
              </a:extLst>
            </p:cNvPr>
            <p:cNvSpPr/>
            <p:nvPr/>
          </p:nvSpPr>
          <p:spPr>
            <a:xfrm>
              <a:off x="3749488" y="3336482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09" name="Rechteck 1108">
              <a:extLst>
                <a:ext uri="{FF2B5EF4-FFF2-40B4-BE49-F238E27FC236}">
                  <a16:creationId xmlns:a16="http://schemas.microsoft.com/office/drawing/2014/main" id="{956FCC0D-8A9D-E910-0478-E5FA1B125288}"/>
                </a:ext>
              </a:extLst>
            </p:cNvPr>
            <p:cNvSpPr/>
            <p:nvPr/>
          </p:nvSpPr>
          <p:spPr>
            <a:xfrm>
              <a:off x="6589507" y="3336482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0" name="Rechteck 1109">
              <a:extLst>
                <a:ext uri="{FF2B5EF4-FFF2-40B4-BE49-F238E27FC236}">
                  <a16:creationId xmlns:a16="http://schemas.microsoft.com/office/drawing/2014/main" id="{B6112DDE-0599-C878-9C4B-2BF336FD78B4}"/>
                </a:ext>
              </a:extLst>
            </p:cNvPr>
            <p:cNvSpPr/>
            <p:nvPr/>
          </p:nvSpPr>
          <p:spPr>
            <a:xfrm>
              <a:off x="7536180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1" name="Rechteck 1110">
              <a:extLst>
                <a:ext uri="{FF2B5EF4-FFF2-40B4-BE49-F238E27FC236}">
                  <a16:creationId xmlns:a16="http://schemas.microsoft.com/office/drawing/2014/main" id="{11E6A381-AACA-6487-92B9-671EB4B747FC}"/>
                </a:ext>
              </a:extLst>
            </p:cNvPr>
            <p:cNvSpPr/>
            <p:nvPr/>
          </p:nvSpPr>
          <p:spPr>
            <a:xfrm>
              <a:off x="8482853" y="3336482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2" name="Rechteck 1111">
              <a:extLst>
                <a:ext uri="{FF2B5EF4-FFF2-40B4-BE49-F238E27FC236}">
                  <a16:creationId xmlns:a16="http://schemas.microsoft.com/office/drawing/2014/main" id="{D69D9DE7-8473-AF7B-FDE6-9A663CE50935}"/>
                </a:ext>
              </a:extLst>
            </p:cNvPr>
            <p:cNvSpPr/>
            <p:nvPr/>
          </p:nvSpPr>
          <p:spPr>
            <a:xfrm>
              <a:off x="9429526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3" name="Rechteck 1112">
              <a:extLst>
                <a:ext uri="{FF2B5EF4-FFF2-40B4-BE49-F238E27FC236}">
                  <a16:creationId xmlns:a16="http://schemas.microsoft.com/office/drawing/2014/main" id="{35D76ECF-D2A7-376F-DED7-DBFA9101B853}"/>
                </a:ext>
              </a:extLst>
            </p:cNvPr>
            <p:cNvSpPr/>
            <p:nvPr/>
          </p:nvSpPr>
          <p:spPr>
            <a:xfrm>
              <a:off x="10376199" y="3336482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4" name="Rechteck 1113">
              <a:extLst>
                <a:ext uri="{FF2B5EF4-FFF2-40B4-BE49-F238E27FC236}">
                  <a16:creationId xmlns:a16="http://schemas.microsoft.com/office/drawing/2014/main" id="{084586F1-456D-CE11-2C8B-04921B4FA465}"/>
                </a:ext>
              </a:extLst>
            </p:cNvPr>
            <p:cNvSpPr/>
            <p:nvPr/>
          </p:nvSpPr>
          <p:spPr>
            <a:xfrm>
              <a:off x="11322872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5" name="Rechteck 1114">
              <a:extLst>
                <a:ext uri="{FF2B5EF4-FFF2-40B4-BE49-F238E27FC236}">
                  <a16:creationId xmlns:a16="http://schemas.microsoft.com/office/drawing/2014/main" id="{BB8A3A8E-6965-0971-FDB4-8441B780BA73}"/>
                </a:ext>
              </a:extLst>
            </p:cNvPr>
            <p:cNvSpPr/>
            <p:nvPr/>
          </p:nvSpPr>
          <p:spPr>
            <a:xfrm>
              <a:off x="4696161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16" name="Rechteck 1115">
              <a:extLst>
                <a:ext uri="{FF2B5EF4-FFF2-40B4-BE49-F238E27FC236}">
                  <a16:creationId xmlns:a16="http://schemas.microsoft.com/office/drawing/2014/main" id="{9839BBB4-998B-F21B-C280-BF9A9AAA5981}"/>
                </a:ext>
              </a:extLst>
            </p:cNvPr>
            <p:cNvSpPr/>
            <p:nvPr/>
          </p:nvSpPr>
          <p:spPr>
            <a:xfrm>
              <a:off x="5642834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BEB0D3D6-801A-4BDB-BB1D-83279AC8309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889296" y="2487065"/>
            <a:ext cx="6117614" cy="660285"/>
          </a:xfrm>
          <a:solidFill>
            <a:srgbClr val="2F70B3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2E360A7-DA49-422D-B3AC-CF90D2E96C2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Till-Ole Lohse (03696244)</a:t>
            </a:r>
          </a:p>
          <a:p>
            <a:r>
              <a:rPr lang="de-DE" dirty="0"/>
              <a:t>Yannick </a:t>
            </a:r>
            <a:r>
              <a:rPr lang="de-DE" dirty="0" err="1"/>
              <a:t>Sihler</a:t>
            </a:r>
            <a:r>
              <a:rPr lang="de-DE" dirty="0"/>
              <a:t> (XXXXXXXX)</a:t>
            </a:r>
          </a:p>
          <a:p>
            <a:r>
              <a:rPr lang="de-DE" dirty="0" err="1"/>
              <a:t>Laert</a:t>
            </a:r>
            <a:r>
              <a:rPr lang="de-DE" dirty="0"/>
              <a:t> </a:t>
            </a:r>
            <a:r>
              <a:rPr lang="de-DE" dirty="0" err="1"/>
              <a:t>Llaveshi</a:t>
            </a:r>
            <a:r>
              <a:rPr lang="de-DE" dirty="0"/>
              <a:t> (XXXXXXXX)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3FFACA1-819A-4A05-B6C4-44553DF46E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sz="1300" dirty="0"/>
              <a:t>Donnerstag, 24.08.2023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B1048A2-D4D0-427F-B7F5-EEC6BEBD89E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53975" y="2674091"/>
            <a:ext cx="3360215" cy="286232"/>
          </a:xfrm>
        </p:spPr>
        <p:txBody>
          <a:bodyPr/>
          <a:lstStyle/>
          <a:p>
            <a:pPr marL="0" indent="0" algn="ctr">
              <a:buNone/>
            </a:pPr>
            <a:r>
              <a:rPr lang="de-DE" sz="1600" dirty="0">
                <a:solidFill>
                  <a:schemeClr val="bg1"/>
                </a:solidFill>
              </a:rPr>
              <a:t>Vortrag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F850055-0A41-0E1A-02D5-EFA56689C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10" y="4970935"/>
            <a:ext cx="2021983" cy="105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8" name="Inhaltsplatzhalter 7">
            <a:extLst>
              <a:ext uri="{FF2B5EF4-FFF2-40B4-BE49-F238E27FC236}">
                <a16:creationId xmlns:a16="http://schemas.microsoft.com/office/drawing/2014/main" id="{6D5C93C5-A562-3386-8A16-75B97895EEE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-37204" y="1596418"/>
            <a:ext cx="7640271" cy="101261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FA88C3D-E168-47BA-9EC6-E3C5CAD72FC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de-DE" dirty="0">
                <a:solidFill>
                  <a:srgbClr val="2F70B3"/>
                </a:solidFill>
              </a:rPr>
              <a:t>Projektaufgabe: Pixelwiederholung</a:t>
            </a:r>
          </a:p>
        </p:txBody>
      </p:sp>
    </p:spTree>
    <p:extLst>
      <p:ext uri="{BB962C8B-B14F-4D97-AF65-F5344CB8AC3E}">
        <p14:creationId xmlns:p14="http://schemas.microsoft.com/office/powerpoint/2010/main" val="36742756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 err="1"/>
              <a:t>window</a:t>
            </a:r>
            <a:r>
              <a:rPr lang="de-DE" sz="1200" b="1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72395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770764-3665-81AC-E797-A7EF3609DD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Projektaufgabe</a:t>
            </a:r>
            <a:r>
              <a:rPr lang="en-GB" dirty="0"/>
              <a:t>: </a:t>
            </a:r>
            <a:r>
              <a:rPr lang="en-GB" dirty="0" err="1"/>
              <a:t>Pixelwiederholung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buClr>
                <a:srgbClr val="2F70B3"/>
              </a:buClr>
            </a:pPr>
            <a:r>
              <a:rPr lang="de-DE" b="1" dirty="0"/>
              <a:t>Generelle Funktionswei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D0914A-29A6-3FB5-C459-1F1943796957}"/>
              </a:ext>
            </a:extLst>
          </p:cNvPr>
          <p:cNvSpPr/>
          <p:nvPr/>
        </p:nvSpPr>
        <p:spPr>
          <a:xfrm>
            <a:off x="922268" y="1606754"/>
            <a:ext cx="10621628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6A592EB6-B986-CBE2-8014-9D07843E3D95}"/>
              </a:ext>
            </a:extLst>
          </p:cNvPr>
          <p:cNvSpPr/>
          <p:nvPr/>
        </p:nvSpPr>
        <p:spPr>
          <a:xfrm flipH="1">
            <a:off x="1317098" y="1623622"/>
            <a:ext cx="3647217" cy="4122085"/>
          </a:xfrm>
          <a:prstGeom prst="homePlate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216000" tIns="144000" rIns="144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D9A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Report of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61 million metric tons of carbon dioxid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in comparison to 67 million metric tons of Target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But: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omitting emission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caused by the huge third-party seller network and overseas suppliers (99% of Amazon's online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Taking responsibility only for emissions of products with an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Amazon brand label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only 1% of its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5E9A1C2-27AF-0C98-EBDC-C5F75CA49D6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3442" y="1723665"/>
            <a:ext cx="273600" cy="2736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2E9D994-F0C5-C2E0-E7B4-F7FAD1396DF2}"/>
              </a:ext>
            </a:extLst>
          </p:cNvPr>
          <p:cNvSpPr/>
          <p:nvPr/>
        </p:nvSpPr>
        <p:spPr>
          <a:xfrm>
            <a:off x="992304" y="1251836"/>
            <a:ext cx="3584735" cy="345599"/>
          </a:xfrm>
          <a:prstGeom prst="rect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Anforderungen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Sechseck 23">
            <a:extLst>
              <a:ext uri="{FF2B5EF4-FFF2-40B4-BE49-F238E27FC236}">
                <a16:creationId xmlns:a16="http://schemas.microsoft.com/office/drawing/2014/main" id="{12D52867-84B4-57FF-5E90-69216A3183D3}"/>
              </a:ext>
            </a:extLst>
          </p:cNvPr>
          <p:cNvSpPr>
            <a:spLocks noChangeAspect="1"/>
          </p:cNvSpPr>
          <p:nvPr/>
        </p:nvSpPr>
        <p:spPr>
          <a:xfrm>
            <a:off x="398995" y="1251836"/>
            <a:ext cx="760319" cy="691199"/>
          </a:xfrm>
          <a:prstGeom prst="hexagon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b="1" dirty="0">
              <a:solidFill>
                <a:schemeClr val="tx1"/>
              </a:solidFill>
            </a:endParaRPr>
          </a:p>
        </p:txBody>
      </p:sp>
      <p:pic>
        <p:nvPicPr>
          <p:cNvPr id="29" name="Grafik 28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85F87BB5-E91E-658A-2DCC-12D2C8E011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4092" y="2430618"/>
            <a:ext cx="5755640" cy="27711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AF2E98D1-4C71-265E-5299-735631021937}"/>
              </a:ext>
            </a:extLst>
          </p:cNvPr>
          <p:cNvCxnSpPr/>
          <p:nvPr/>
        </p:nvCxnSpPr>
        <p:spPr>
          <a:xfrm>
            <a:off x="5219441" y="1443257"/>
            <a:ext cx="0" cy="4745862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6093E41-909E-62AA-3CA3-FD70F2BF38A8}"/>
              </a:ext>
            </a:extLst>
          </p:cNvPr>
          <p:cNvSpPr txBox="1"/>
          <p:nvPr/>
        </p:nvSpPr>
        <p:spPr>
          <a:xfrm>
            <a:off x="5664544" y="1706576"/>
            <a:ext cx="61009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llustration</a:t>
            </a:r>
            <a:endParaRPr lang="en-GB" sz="1400" dirty="0"/>
          </a:p>
        </p:txBody>
      </p:sp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5371BD81-6D04-8892-B0D8-AF96BA14C0F8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62820" y="1670227"/>
            <a:ext cx="288000" cy="288000"/>
          </a:xfrm>
        </p:spPr>
      </p:pic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E5B83353-C4AE-9221-C8C9-4C81E481A172}"/>
              </a:ext>
            </a:extLst>
          </p:cNvPr>
          <p:cNvSpPr txBox="1">
            <a:spLocks/>
          </p:cNvSpPr>
          <p:nvPr/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0" u="none" strike="noStrike" baseline="30000" dirty="0">
                <a:solidFill>
                  <a:srgbClr val="111111"/>
                </a:solidFill>
                <a:effectLst/>
                <a:latin typeface="Zenon"/>
              </a:rPr>
              <a:t>1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Source: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Reveal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rom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The Center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or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Investigative Reporting</a:t>
            </a:r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99E9E0D-BCC2-6748-A3A7-22B3F33EC2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841" y="1366469"/>
            <a:ext cx="394463" cy="39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971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 err="1"/>
              <a:t>window</a:t>
            </a:r>
            <a:r>
              <a:rPr lang="de-DE" sz="1200" b="1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158859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26493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770764-3665-81AC-E797-A7EF3609DD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Projektaufgabe</a:t>
            </a:r>
            <a:r>
              <a:rPr lang="en-GB" dirty="0"/>
              <a:t>: </a:t>
            </a:r>
            <a:r>
              <a:rPr lang="en-GB" dirty="0" err="1"/>
              <a:t>Pixelwiederholung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buClr>
                <a:srgbClr val="2F70B3"/>
              </a:buClr>
            </a:pPr>
            <a:r>
              <a:rPr lang="de-DE" b="1" dirty="0"/>
              <a:t>Generelle Funktionswei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D0914A-29A6-3FB5-C459-1F1943796957}"/>
              </a:ext>
            </a:extLst>
          </p:cNvPr>
          <p:cNvSpPr/>
          <p:nvPr/>
        </p:nvSpPr>
        <p:spPr>
          <a:xfrm>
            <a:off x="922268" y="1606754"/>
            <a:ext cx="10621628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6A592EB6-B986-CBE2-8014-9D07843E3D95}"/>
              </a:ext>
            </a:extLst>
          </p:cNvPr>
          <p:cNvSpPr/>
          <p:nvPr/>
        </p:nvSpPr>
        <p:spPr>
          <a:xfrm flipH="1">
            <a:off x="1317098" y="1623622"/>
            <a:ext cx="3647217" cy="4122085"/>
          </a:xfrm>
          <a:prstGeom prst="homePlate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216000" tIns="144000" rIns="144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D9A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Report of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61 million metric tons of carbon dioxid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in comparison to 67 million metric tons of Target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But: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omitting emission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caused by the huge third-party seller network and overseas suppliers (99% of Amazon's online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Taking responsibility only for emissions of products with an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Amazon brand label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only 1% of its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5E9A1C2-27AF-0C98-EBDC-C5F75CA49D6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3442" y="1723665"/>
            <a:ext cx="273600" cy="2736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2E9D994-F0C5-C2E0-E7B4-F7FAD1396DF2}"/>
              </a:ext>
            </a:extLst>
          </p:cNvPr>
          <p:cNvSpPr/>
          <p:nvPr/>
        </p:nvSpPr>
        <p:spPr>
          <a:xfrm>
            <a:off x="992304" y="1251836"/>
            <a:ext cx="3584735" cy="345599"/>
          </a:xfrm>
          <a:prstGeom prst="rect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Anforderungen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Sechseck 23">
            <a:extLst>
              <a:ext uri="{FF2B5EF4-FFF2-40B4-BE49-F238E27FC236}">
                <a16:creationId xmlns:a16="http://schemas.microsoft.com/office/drawing/2014/main" id="{12D52867-84B4-57FF-5E90-69216A3183D3}"/>
              </a:ext>
            </a:extLst>
          </p:cNvPr>
          <p:cNvSpPr>
            <a:spLocks noChangeAspect="1"/>
          </p:cNvSpPr>
          <p:nvPr/>
        </p:nvSpPr>
        <p:spPr>
          <a:xfrm>
            <a:off x="398995" y="1251836"/>
            <a:ext cx="760319" cy="691199"/>
          </a:xfrm>
          <a:prstGeom prst="hexagon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b="1" dirty="0">
              <a:solidFill>
                <a:schemeClr val="tx1"/>
              </a:solidFill>
            </a:endParaRPr>
          </a:p>
        </p:txBody>
      </p:sp>
      <p:pic>
        <p:nvPicPr>
          <p:cNvPr id="29" name="Grafik 28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85F87BB5-E91E-658A-2DCC-12D2C8E011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4092" y="2430618"/>
            <a:ext cx="5755640" cy="27711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AF2E98D1-4C71-265E-5299-735631021937}"/>
              </a:ext>
            </a:extLst>
          </p:cNvPr>
          <p:cNvCxnSpPr/>
          <p:nvPr/>
        </p:nvCxnSpPr>
        <p:spPr>
          <a:xfrm>
            <a:off x="5219441" y="1443257"/>
            <a:ext cx="0" cy="4745862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6093E41-909E-62AA-3CA3-FD70F2BF38A8}"/>
              </a:ext>
            </a:extLst>
          </p:cNvPr>
          <p:cNvSpPr txBox="1"/>
          <p:nvPr/>
        </p:nvSpPr>
        <p:spPr>
          <a:xfrm>
            <a:off x="5664544" y="1706576"/>
            <a:ext cx="61009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llustration</a:t>
            </a:r>
            <a:endParaRPr lang="en-GB" sz="1400" dirty="0"/>
          </a:p>
        </p:txBody>
      </p:sp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5371BD81-6D04-8892-B0D8-AF96BA14C0F8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62820" y="1670227"/>
            <a:ext cx="288000" cy="288000"/>
          </a:xfrm>
        </p:spPr>
      </p:pic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E5B83353-C4AE-9221-C8C9-4C81E481A172}"/>
              </a:ext>
            </a:extLst>
          </p:cNvPr>
          <p:cNvSpPr txBox="1">
            <a:spLocks/>
          </p:cNvSpPr>
          <p:nvPr/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0" u="none" strike="noStrike" baseline="30000" dirty="0">
                <a:solidFill>
                  <a:srgbClr val="111111"/>
                </a:solidFill>
                <a:effectLst/>
                <a:latin typeface="Zenon"/>
              </a:rPr>
              <a:t>1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Source: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Reveal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rom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The Center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or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Investigative Reporting</a:t>
            </a:r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99E9E0D-BCC2-6748-A3A7-22B3F33EC2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841" y="1366469"/>
            <a:ext cx="394463" cy="39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632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29342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b="1" dirty="0" err="1"/>
              <a:t>Testing</a:t>
            </a:r>
            <a:endParaRPr lang="de-DE" b="1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90547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66007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Subtitel</a:t>
            </a:r>
            <a:endParaRPr lang="en-GB" dirty="0"/>
          </a:p>
          <a:p>
            <a:endParaRPr lang="en-GB" dirty="0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4B6650C6-83FC-BEE7-A164-CF0F7F7C4339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33572" y="1231014"/>
            <a:ext cx="540000" cy="540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 err="1"/>
              <a:t>Beispielfolie</a:t>
            </a:r>
            <a:endParaRPr lang="en-GB" dirty="0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860CA0C1-B7CA-98B2-A394-91313A74ABD3}"/>
              </a:ext>
            </a:extLst>
          </p:cNvPr>
          <p:cNvSpPr/>
          <p:nvPr/>
        </p:nvSpPr>
        <p:spPr>
          <a:xfrm>
            <a:off x="6690215" y="2069844"/>
            <a:ext cx="4929838" cy="395577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600"/>
              </a:spcAft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47CEB8BD-A14D-974C-4359-6B1D8B99F04A}"/>
              </a:ext>
            </a:extLst>
          </p:cNvPr>
          <p:cNvSpPr>
            <a:spLocks/>
          </p:cNvSpPr>
          <p:nvPr/>
        </p:nvSpPr>
        <p:spPr>
          <a:xfrm>
            <a:off x="914400" y="1245694"/>
            <a:ext cx="3914951" cy="6416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0" tIns="36000" rIns="72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1" name="Sechseck 40">
            <a:extLst>
              <a:ext uri="{FF2B5EF4-FFF2-40B4-BE49-F238E27FC236}">
                <a16:creationId xmlns:a16="http://schemas.microsoft.com/office/drawing/2014/main" id="{6F61B4B5-F323-1CA3-DC93-916CF20E91A8}"/>
              </a:ext>
            </a:extLst>
          </p:cNvPr>
          <p:cNvSpPr>
            <a:spLocks noChangeAspect="1"/>
          </p:cNvSpPr>
          <p:nvPr/>
        </p:nvSpPr>
        <p:spPr>
          <a:xfrm>
            <a:off x="441601" y="1155239"/>
            <a:ext cx="789758" cy="757741"/>
          </a:xfrm>
          <a:prstGeom prst="hexagon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2" name="Rechteck 7">
            <a:extLst>
              <a:ext uri="{FF2B5EF4-FFF2-40B4-BE49-F238E27FC236}">
                <a16:creationId xmlns:a16="http://schemas.microsoft.com/office/drawing/2014/main" id="{865B4ADB-EF33-9922-7139-C3506C5AE8E2}"/>
              </a:ext>
            </a:extLst>
          </p:cNvPr>
          <p:cNvSpPr>
            <a:spLocks/>
          </p:cNvSpPr>
          <p:nvPr/>
        </p:nvSpPr>
        <p:spPr>
          <a:xfrm>
            <a:off x="7381664" y="1245694"/>
            <a:ext cx="3787429" cy="6416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" rIns="360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3" name="Sechseck 42">
            <a:extLst>
              <a:ext uri="{FF2B5EF4-FFF2-40B4-BE49-F238E27FC236}">
                <a16:creationId xmlns:a16="http://schemas.microsoft.com/office/drawing/2014/main" id="{44ED5EF5-EDAE-3B6C-2678-B0D2EF80A738}"/>
              </a:ext>
            </a:extLst>
          </p:cNvPr>
          <p:cNvSpPr>
            <a:spLocks noChangeAspect="1"/>
          </p:cNvSpPr>
          <p:nvPr/>
        </p:nvSpPr>
        <p:spPr>
          <a:xfrm>
            <a:off x="10976773" y="1155239"/>
            <a:ext cx="789758" cy="757741"/>
          </a:xfrm>
          <a:prstGeom prst="hexagon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>
              <a:solidFill>
                <a:schemeClr val="tx1"/>
              </a:solidFill>
            </a:endParaRPr>
          </a:p>
        </p:txBody>
      </p:sp>
      <p:pic>
        <p:nvPicPr>
          <p:cNvPr id="44" name="Inhaltsplatzhalter 19" descr="Gruppe mit einfarbiger Füllung">
            <a:extLst>
              <a:ext uri="{FF2B5EF4-FFF2-40B4-BE49-F238E27FC236}">
                <a16:creationId xmlns:a16="http://schemas.microsoft.com/office/drawing/2014/main" id="{A4D9108C-8987-9A13-BEAB-BA9B5EFFB2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1911" y="1314276"/>
            <a:ext cx="458480" cy="458480"/>
          </a:xfrm>
          <a:prstGeom prst="rect">
            <a:avLst/>
          </a:prstGeom>
        </p:spPr>
      </p:pic>
      <p:sp>
        <p:nvSpPr>
          <p:cNvPr id="45" name="Gleichschenkliges Dreieck 103">
            <a:extLst>
              <a:ext uri="{FF2B5EF4-FFF2-40B4-BE49-F238E27FC236}">
                <a16:creationId xmlns:a16="http://schemas.microsoft.com/office/drawing/2014/main" id="{8BE1323D-FE99-AFBA-851B-4E9A43A826CA}"/>
              </a:ext>
            </a:extLst>
          </p:cNvPr>
          <p:cNvSpPr/>
          <p:nvPr/>
        </p:nvSpPr>
        <p:spPr>
          <a:xfrm rot="5400000">
            <a:off x="4842809" y="1228365"/>
            <a:ext cx="641648" cy="67630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6" name="Gleichschenkliges Dreieck 104">
            <a:extLst>
              <a:ext uri="{FF2B5EF4-FFF2-40B4-BE49-F238E27FC236}">
                <a16:creationId xmlns:a16="http://schemas.microsoft.com/office/drawing/2014/main" id="{6EC4C4F2-1580-DFFA-2AC0-B001371273CF}"/>
              </a:ext>
            </a:extLst>
          </p:cNvPr>
          <p:cNvSpPr/>
          <p:nvPr/>
        </p:nvSpPr>
        <p:spPr>
          <a:xfrm rot="16200000">
            <a:off x="6722689" y="1228365"/>
            <a:ext cx="641646" cy="676307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F77E98BE-26BF-8D95-1FB3-202AC335FCB9}"/>
              </a:ext>
            </a:extLst>
          </p:cNvPr>
          <p:cNvSpPr txBox="1"/>
          <p:nvPr/>
        </p:nvSpPr>
        <p:spPr>
          <a:xfrm>
            <a:off x="1225338" y="1437833"/>
            <a:ext cx="3606162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400" b="1" dirty="0"/>
              <a:t>A</a:t>
            </a:r>
            <a:endParaRPr lang="en-GB" sz="1400" b="1" i="1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5AD42A2-6862-4E8D-08A6-47A1A7C63B52}"/>
              </a:ext>
            </a:extLst>
          </p:cNvPr>
          <p:cNvSpPr txBox="1"/>
          <p:nvPr/>
        </p:nvSpPr>
        <p:spPr>
          <a:xfrm>
            <a:off x="7402615" y="1437833"/>
            <a:ext cx="352514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GB" sz="1400" b="1" dirty="0"/>
              <a:t>X reactions</a:t>
            </a:r>
            <a:endParaRPr lang="en-GB" sz="1400" b="1" i="1" dirty="0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26BD4A17-B311-B4CB-7E49-A478ACAD5BD1}"/>
              </a:ext>
            </a:extLst>
          </p:cNvPr>
          <p:cNvSpPr/>
          <p:nvPr/>
        </p:nvSpPr>
        <p:spPr>
          <a:xfrm>
            <a:off x="611911" y="2069844"/>
            <a:ext cx="4889876" cy="395577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600"/>
              </a:spcAft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2950344-4E91-0F21-6BFC-F5DABE3B57A0}"/>
              </a:ext>
            </a:extLst>
          </p:cNvPr>
          <p:cNvSpPr txBox="1"/>
          <p:nvPr/>
        </p:nvSpPr>
        <p:spPr>
          <a:xfrm>
            <a:off x="732050" y="2166003"/>
            <a:ext cx="4609633" cy="21963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Public criticism </a:t>
            </a:r>
            <a:r>
              <a:rPr lang="en-GB" sz="1400"/>
              <a:t>because of nondisclosure and incomplete counting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Activist pressure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Internal pressure </a:t>
            </a:r>
            <a:r>
              <a:rPr lang="en-GB" sz="1400"/>
              <a:t>from Amazon Employees for Climate Justice 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No</a:t>
            </a:r>
            <a:r>
              <a:rPr lang="en-GB" sz="1400"/>
              <a:t> further </a:t>
            </a:r>
            <a:r>
              <a:rPr lang="en-GB" sz="1400" b="1"/>
              <a:t>penalties</a:t>
            </a:r>
            <a:r>
              <a:rPr lang="en-GB" sz="1400"/>
              <a:t> or charges</a:t>
            </a:r>
          </a:p>
          <a:p>
            <a:pPr marL="628650" lvl="1" indent="-171450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endParaRPr lang="en-GB" sz="140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126115E-87A3-8138-1B41-5EACF1DDECC9}"/>
              </a:ext>
            </a:extLst>
          </p:cNvPr>
          <p:cNvSpPr txBox="1"/>
          <p:nvPr/>
        </p:nvSpPr>
        <p:spPr>
          <a:xfrm>
            <a:off x="6823887" y="2166003"/>
            <a:ext cx="4609633" cy="225791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No</a:t>
            </a:r>
            <a:r>
              <a:rPr lang="en-GB" sz="1400"/>
              <a:t> direct </a:t>
            </a:r>
            <a:r>
              <a:rPr lang="en-GB" sz="1400" b="1"/>
              <a:t>answer</a:t>
            </a:r>
            <a:r>
              <a:rPr lang="en-GB" sz="1400"/>
              <a:t> to the questions why they don´t count their emissions properly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 b="1"/>
              <a:t>Repeated statements </a:t>
            </a:r>
            <a:r>
              <a:rPr lang="en-GB" sz="1400"/>
              <a:t>about commitment to cut emissions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/>
              <a:t>Foundation of a 2 billion dollar </a:t>
            </a:r>
            <a:r>
              <a:rPr lang="en-GB" sz="1400" b="1"/>
              <a:t>Climate Pledge Fund </a:t>
            </a:r>
          </a:p>
          <a:p>
            <a:pPr marL="171450" indent="-171450" algn="l">
              <a:spcAft>
                <a:spcPts val="1200"/>
              </a:spcAft>
              <a:buClr>
                <a:srgbClr val="FD9A00"/>
              </a:buClr>
              <a:buFont typeface="Wingdings" pitchFamily="2" charset="2"/>
              <a:buChar char="§"/>
            </a:pPr>
            <a:r>
              <a:rPr lang="en-GB" sz="1400"/>
              <a:t>Creation of a sport stadium in Seattle called „</a:t>
            </a:r>
            <a:r>
              <a:rPr lang="en-GB" sz="1400" b="1"/>
              <a:t>Climate Pledge Arena</a:t>
            </a:r>
            <a:r>
              <a:rPr lang="en-GB" sz="1400"/>
              <a:t>“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05E4417-1C0A-0E4D-320D-55124FBC5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3960" y="1296417"/>
            <a:ext cx="475384" cy="47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344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0" grpId="0" animBg="1"/>
      <p:bldP spid="41" grpId="0" animBg="1"/>
      <p:bldP spid="42" grpId="0" animBg="1"/>
      <p:bldP spid="43" grpId="0" animBg="1"/>
      <p:bldP spid="45" grpId="0" animBg="1"/>
      <p:bldP spid="46" grpId="0" animBg="1"/>
      <p:bldP spid="48" grpId="0"/>
      <p:bldP spid="49" grpId="0"/>
      <p:bldP spid="7" grpId="0" animBg="1"/>
      <p:bldP spid="10" grpId="0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b="1" dirty="0" err="1"/>
              <a:t>Testing</a:t>
            </a:r>
            <a:endParaRPr lang="de-DE" b="1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867339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b="1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9184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909320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FA5076D0-D589-43E7-AD72-F0AE5FB75F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587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FA5076D0-D589-43E7-AD72-F0AE5FB75F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E3D1743-EEFA-D43E-049B-EACE8F05A1F8}"/>
              </a:ext>
            </a:extLst>
          </p:cNvPr>
          <p:cNvGrpSpPr/>
          <p:nvPr/>
        </p:nvGrpSpPr>
        <p:grpSpPr>
          <a:xfrm>
            <a:off x="-37204" y="526956"/>
            <a:ext cx="12306749" cy="3756199"/>
            <a:chOff x="-37204" y="526956"/>
            <a:chExt cx="12306749" cy="3756199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DE0FCA0-00DA-2169-C062-155782D6B461}"/>
                </a:ext>
              </a:extLst>
            </p:cNvPr>
            <p:cNvSpPr/>
            <p:nvPr/>
          </p:nvSpPr>
          <p:spPr>
            <a:xfrm>
              <a:off x="-37204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4F21BB8-9109-5948-D563-C149AF866CE4}"/>
                </a:ext>
              </a:extLst>
            </p:cNvPr>
            <p:cNvSpPr/>
            <p:nvPr/>
          </p:nvSpPr>
          <p:spPr>
            <a:xfrm>
              <a:off x="909469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1F03A3D-C67B-A57D-BBF8-0465D5AE9B18}"/>
                </a:ext>
              </a:extLst>
            </p:cNvPr>
            <p:cNvSpPr/>
            <p:nvPr/>
          </p:nvSpPr>
          <p:spPr>
            <a:xfrm>
              <a:off x="1856142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B6728C3-406B-0C7F-5C90-DA371D0250CA}"/>
                </a:ext>
              </a:extLst>
            </p:cNvPr>
            <p:cNvSpPr/>
            <p:nvPr/>
          </p:nvSpPr>
          <p:spPr>
            <a:xfrm>
              <a:off x="2802815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E794A4C2-02B8-5881-F95A-490E2A69831B}"/>
                </a:ext>
              </a:extLst>
            </p:cNvPr>
            <p:cNvSpPr/>
            <p:nvPr/>
          </p:nvSpPr>
          <p:spPr>
            <a:xfrm>
              <a:off x="3749488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4D83EC38-50FC-8425-A99E-C0C4CA68E944}"/>
                </a:ext>
              </a:extLst>
            </p:cNvPr>
            <p:cNvSpPr/>
            <p:nvPr/>
          </p:nvSpPr>
          <p:spPr>
            <a:xfrm>
              <a:off x="6589507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DB362A4-92BB-B95C-5F8F-A35962DE67B7}"/>
                </a:ext>
              </a:extLst>
            </p:cNvPr>
            <p:cNvSpPr/>
            <p:nvPr/>
          </p:nvSpPr>
          <p:spPr>
            <a:xfrm>
              <a:off x="7536180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FF89A94-C55D-384D-BAD1-38982B744CB7}"/>
                </a:ext>
              </a:extLst>
            </p:cNvPr>
            <p:cNvSpPr/>
            <p:nvPr/>
          </p:nvSpPr>
          <p:spPr>
            <a:xfrm>
              <a:off x="8482853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33CE388-C762-9FB0-FB25-04549207BAF0}"/>
                </a:ext>
              </a:extLst>
            </p:cNvPr>
            <p:cNvSpPr/>
            <p:nvPr/>
          </p:nvSpPr>
          <p:spPr>
            <a:xfrm>
              <a:off x="9429526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D7DFDABF-5AA6-8652-B1C7-58759B695A97}"/>
                </a:ext>
              </a:extLst>
            </p:cNvPr>
            <p:cNvSpPr/>
            <p:nvPr/>
          </p:nvSpPr>
          <p:spPr>
            <a:xfrm>
              <a:off x="10376199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90839E6E-A39B-EAD5-236C-0FB658B38676}"/>
                </a:ext>
              </a:extLst>
            </p:cNvPr>
            <p:cNvSpPr/>
            <p:nvPr/>
          </p:nvSpPr>
          <p:spPr>
            <a:xfrm>
              <a:off x="11322872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28039F-9CC2-7B0F-784B-783FBD7A228C}"/>
                </a:ext>
              </a:extLst>
            </p:cNvPr>
            <p:cNvSpPr/>
            <p:nvPr/>
          </p:nvSpPr>
          <p:spPr>
            <a:xfrm>
              <a:off x="4696161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0B29CD6-5F6C-DD32-E352-53548F0BE699}"/>
                </a:ext>
              </a:extLst>
            </p:cNvPr>
            <p:cNvSpPr/>
            <p:nvPr/>
          </p:nvSpPr>
          <p:spPr>
            <a:xfrm>
              <a:off x="5642834" y="2400567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430CD44A-EE98-F375-27B1-013D7EED1CDC}"/>
                </a:ext>
              </a:extLst>
            </p:cNvPr>
            <p:cNvSpPr/>
            <p:nvPr/>
          </p:nvSpPr>
          <p:spPr>
            <a:xfrm>
              <a:off x="-37204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7FC81983-A36E-0F24-A7B2-EF5FE8BC0B9D}"/>
                </a:ext>
              </a:extLst>
            </p:cNvPr>
            <p:cNvSpPr/>
            <p:nvPr/>
          </p:nvSpPr>
          <p:spPr>
            <a:xfrm>
              <a:off x="909469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862AC06-42F5-A42A-4683-D6CF2A973625}"/>
                </a:ext>
              </a:extLst>
            </p:cNvPr>
            <p:cNvSpPr/>
            <p:nvPr/>
          </p:nvSpPr>
          <p:spPr>
            <a:xfrm>
              <a:off x="1856142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62E875BB-5E39-05E3-92BC-939F0A1010EC}"/>
                </a:ext>
              </a:extLst>
            </p:cNvPr>
            <p:cNvSpPr/>
            <p:nvPr/>
          </p:nvSpPr>
          <p:spPr>
            <a:xfrm>
              <a:off x="2802815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0AB0200-D55B-CED9-C7E4-5F95469E8CA2}"/>
                </a:ext>
              </a:extLst>
            </p:cNvPr>
            <p:cNvSpPr/>
            <p:nvPr/>
          </p:nvSpPr>
          <p:spPr>
            <a:xfrm>
              <a:off x="3749488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F95F9DA3-5022-9A10-DDDA-BC1E29225ABE}"/>
                </a:ext>
              </a:extLst>
            </p:cNvPr>
            <p:cNvSpPr/>
            <p:nvPr/>
          </p:nvSpPr>
          <p:spPr>
            <a:xfrm>
              <a:off x="6589507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361316FE-3DF2-D019-7872-1DBE9BC843A3}"/>
                </a:ext>
              </a:extLst>
            </p:cNvPr>
            <p:cNvSpPr/>
            <p:nvPr/>
          </p:nvSpPr>
          <p:spPr>
            <a:xfrm>
              <a:off x="7536180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E337427-A241-D383-2CC8-D72C85686F86}"/>
                </a:ext>
              </a:extLst>
            </p:cNvPr>
            <p:cNvSpPr/>
            <p:nvPr/>
          </p:nvSpPr>
          <p:spPr>
            <a:xfrm>
              <a:off x="8482853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FD8E54F1-2B28-554A-65AD-14FEA39B4838}"/>
                </a:ext>
              </a:extLst>
            </p:cNvPr>
            <p:cNvSpPr/>
            <p:nvPr/>
          </p:nvSpPr>
          <p:spPr>
            <a:xfrm>
              <a:off x="9429526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E8F81E5F-F6A9-A4C3-FC7F-41F448325610}"/>
                </a:ext>
              </a:extLst>
            </p:cNvPr>
            <p:cNvSpPr/>
            <p:nvPr/>
          </p:nvSpPr>
          <p:spPr>
            <a:xfrm>
              <a:off x="10376199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EC36331B-54DD-C665-6F67-A0FCCFD12BED}"/>
                </a:ext>
              </a:extLst>
            </p:cNvPr>
            <p:cNvSpPr/>
            <p:nvPr/>
          </p:nvSpPr>
          <p:spPr>
            <a:xfrm>
              <a:off x="11322872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F0E2ED0-8C4F-B46C-D832-13EB91CE4AEC}"/>
                </a:ext>
              </a:extLst>
            </p:cNvPr>
            <p:cNvSpPr/>
            <p:nvPr/>
          </p:nvSpPr>
          <p:spPr>
            <a:xfrm>
              <a:off x="4696161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C77AE43-BFEC-E580-744D-9DDA258CE01A}"/>
                </a:ext>
              </a:extLst>
            </p:cNvPr>
            <p:cNvSpPr/>
            <p:nvPr/>
          </p:nvSpPr>
          <p:spPr>
            <a:xfrm>
              <a:off x="5642834" y="146465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3F30E425-7023-1788-E73F-3AFCE5049FDA}"/>
                </a:ext>
              </a:extLst>
            </p:cNvPr>
            <p:cNvSpPr/>
            <p:nvPr/>
          </p:nvSpPr>
          <p:spPr>
            <a:xfrm>
              <a:off x="-37204" y="526956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B1976E5-1792-1991-A954-B3E9D9E3B6B6}"/>
                </a:ext>
              </a:extLst>
            </p:cNvPr>
            <p:cNvSpPr/>
            <p:nvPr/>
          </p:nvSpPr>
          <p:spPr>
            <a:xfrm>
              <a:off x="909469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18AA6D49-1E38-1AFE-1A1C-19039C629C05}"/>
                </a:ext>
              </a:extLst>
            </p:cNvPr>
            <p:cNvSpPr/>
            <p:nvPr/>
          </p:nvSpPr>
          <p:spPr>
            <a:xfrm>
              <a:off x="1856142" y="526956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626E6BA6-161D-DFD7-C166-D3CE09454C77}"/>
                </a:ext>
              </a:extLst>
            </p:cNvPr>
            <p:cNvSpPr/>
            <p:nvPr/>
          </p:nvSpPr>
          <p:spPr>
            <a:xfrm>
              <a:off x="2802815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F9E16F0A-BC1D-DE38-6074-91B9F97447AD}"/>
                </a:ext>
              </a:extLst>
            </p:cNvPr>
            <p:cNvSpPr/>
            <p:nvPr/>
          </p:nvSpPr>
          <p:spPr>
            <a:xfrm>
              <a:off x="3749488" y="526956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6A71D42-6E0A-A338-1E0A-AD6E68550D80}"/>
                </a:ext>
              </a:extLst>
            </p:cNvPr>
            <p:cNvSpPr/>
            <p:nvPr/>
          </p:nvSpPr>
          <p:spPr>
            <a:xfrm>
              <a:off x="6589507" y="526956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1B8B9602-D3A6-5E8F-8CA2-8A226C88F803}"/>
                </a:ext>
              </a:extLst>
            </p:cNvPr>
            <p:cNvSpPr/>
            <p:nvPr/>
          </p:nvSpPr>
          <p:spPr>
            <a:xfrm>
              <a:off x="7536180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28C6B454-6CD4-555D-4F10-119CFF5F2E4D}"/>
                </a:ext>
              </a:extLst>
            </p:cNvPr>
            <p:cNvSpPr/>
            <p:nvPr/>
          </p:nvSpPr>
          <p:spPr>
            <a:xfrm>
              <a:off x="8482853" y="526956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EFA3BD42-BEDC-2BB6-8FA9-9C5FD81A7E22}"/>
                </a:ext>
              </a:extLst>
            </p:cNvPr>
            <p:cNvSpPr/>
            <p:nvPr/>
          </p:nvSpPr>
          <p:spPr>
            <a:xfrm>
              <a:off x="9429526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47DFA26-A9C8-464C-9EFF-8B4CEB699296}"/>
                </a:ext>
              </a:extLst>
            </p:cNvPr>
            <p:cNvSpPr/>
            <p:nvPr/>
          </p:nvSpPr>
          <p:spPr>
            <a:xfrm>
              <a:off x="10376199" y="526956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A7A8A70D-A8BE-E8D4-A450-901C66AEF3B2}"/>
                </a:ext>
              </a:extLst>
            </p:cNvPr>
            <p:cNvSpPr/>
            <p:nvPr/>
          </p:nvSpPr>
          <p:spPr>
            <a:xfrm>
              <a:off x="11322872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A079AF9D-A0D4-13F8-BA77-0769E796EB64}"/>
                </a:ext>
              </a:extLst>
            </p:cNvPr>
            <p:cNvSpPr/>
            <p:nvPr/>
          </p:nvSpPr>
          <p:spPr>
            <a:xfrm>
              <a:off x="4696161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E9B1436D-9EFD-5440-0C15-1A5B43D4BD21}"/>
                </a:ext>
              </a:extLst>
            </p:cNvPr>
            <p:cNvSpPr/>
            <p:nvPr/>
          </p:nvSpPr>
          <p:spPr>
            <a:xfrm>
              <a:off x="5642834" y="526956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3E335049-F414-AED7-EDF4-69C599CA4085}"/>
                </a:ext>
              </a:extLst>
            </p:cNvPr>
            <p:cNvSpPr/>
            <p:nvPr/>
          </p:nvSpPr>
          <p:spPr>
            <a:xfrm>
              <a:off x="-37204" y="3336482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287EF8D1-9204-0E84-E4EE-4EF9243F78AC}"/>
                </a:ext>
              </a:extLst>
            </p:cNvPr>
            <p:cNvSpPr/>
            <p:nvPr/>
          </p:nvSpPr>
          <p:spPr>
            <a:xfrm>
              <a:off x="909469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08CDAA05-9F87-B034-3BFB-ED88065C5FA1}"/>
                </a:ext>
              </a:extLst>
            </p:cNvPr>
            <p:cNvSpPr/>
            <p:nvPr/>
          </p:nvSpPr>
          <p:spPr>
            <a:xfrm>
              <a:off x="1856142" y="3336482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C39535D-67D6-488F-97E1-91828C669BF5}"/>
                </a:ext>
              </a:extLst>
            </p:cNvPr>
            <p:cNvSpPr/>
            <p:nvPr/>
          </p:nvSpPr>
          <p:spPr>
            <a:xfrm>
              <a:off x="2802815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93C807C-982A-F0C3-D48B-DBD36243E017}"/>
                </a:ext>
              </a:extLst>
            </p:cNvPr>
            <p:cNvSpPr/>
            <p:nvPr/>
          </p:nvSpPr>
          <p:spPr>
            <a:xfrm>
              <a:off x="3749488" y="3336482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7A99433-C667-F7CA-B220-EB7C4BBDAC74}"/>
                </a:ext>
              </a:extLst>
            </p:cNvPr>
            <p:cNvSpPr/>
            <p:nvPr/>
          </p:nvSpPr>
          <p:spPr>
            <a:xfrm>
              <a:off x="6589507" y="3336482"/>
              <a:ext cx="946673" cy="946673"/>
            </a:xfrm>
            <a:prstGeom prst="rect">
              <a:avLst/>
            </a:prstGeom>
            <a:solidFill>
              <a:srgbClr val="00EC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6582116-719F-3DF0-2A49-6BE3F7EFBC71}"/>
                </a:ext>
              </a:extLst>
            </p:cNvPr>
            <p:cNvSpPr/>
            <p:nvPr/>
          </p:nvSpPr>
          <p:spPr>
            <a:xfrm>
              <a:off x="7536180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FBEBF0B0-F2F4-F6AB-8E53-91CE6A69CF9C}"/>
                </a:ext>
              </a:extLst>
            </p:cNvPr>
            <p:cNvSpPr/>
            <p:nvPr/>
          </p:nvSpPr>
          <p:spPr>
            <a:xfrm>
              <a:off x="8482853" y="3336482"/>
              <a:ext cx="946673" cy="946673"/>
            </a:xfrm>
            <a:prstGeom prst="rect">
              <a:avLst/>
            </a:prstGeom>
            <a:solidFill>
              <a:srgbClr val="00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FFD8D24-ABBC-7ADD-783E-8F814CC8314F}"/>
                </a:ext>
              </a:extLst>
            </p:cNvPr>
            <p:cNvSpPr/>
            <p:nvPr/>
          </p:nvSpPr>
          <p:spPr>
            <a:xfrm>
              <a:off x="9429526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518B222B-5872-066C-838F-DB408F6889D4}"/>
                </a:ext>
              </a:extLst>
            </p:cNvPr>
            <p:cNvSpPr/>
            <p:nvPr/>
          </p:nvSpPr>
          <p:spPr>
            <a:xfrm>
              <a:off x="10376199" y="3336482"/>
              <a:ext cx="946673" cy="94667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C67F1797-5534-5218-7FA9-5FDF051E3B1F}"/>
                </a:ext>
              </a:extLst>
            </p:cNvPr>
            <p:cNvSpPr/>
            <p:nvPr/>
          </p:nvSpPr>
          <p:spPr>
            <a:xfrm>
              <a:off x="11322872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6857DFA-0C2B-DC2C-812E-804E75768A39}"/>
                </a:ext>
              </a:extLst>
            </p:cNvPr>
            <p:cNvSpPr/>
            <p:nvPr/>
          </p:nvSpPr>
          <p:spPr>
            <a:xfrm>
              <a:off x="4696161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8DD8E8D1-A6E4-8A17-B3EF-243FE17A4478}"/>
                </a:ext>
              </a:extLst>
            </p:cNvPr>
            <p:cNvSpPr/>
            <p:nvPr/>
          </p:nvSpPr>
          <p:spPr>
            <a:xfrm>
              <a:off x="5642834" y="3336482"/>
              <a:ext cx="946673" cy="94667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E6323C9-CA53-45CD-AB04-01C9DF777AB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548409" y="2255208"/>
            <a:ext cx="5643591" cy="655840"/>
          </a:xfrm>
          <a:solidFill>
            <a:srgbClr val="2F70B3"/>
          </a:solidFill>
        </p:spPr>
        <p:txBody>
          <a:bodyPr/>
          <a:lstStyle/>
          <a:p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DD415D6-9766-493A-B653-5340315933A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-16184" y="1625964"/>
            <a:ext cx="6885251" cy="1012614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5FD93D6-40B5-4EDF-AE3A-5F6C106C319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78803" y="1636088"/>
            <a:ext cx="5643591" cy="1012614"/>
          </a:xfrm>
        </p:spPr>
        <p:txBody>
          <a:bodyPr/>
          <a:lstStyle/>
          <a:p>
            <a:r>
              <a:rPr lang="de-DE" dirty="0">
                <a:solidFill>
                  <a:srgbClr val="2F70B3"/>
                </a:solidFill>
              </a:rPr>
              <a:t>Vielen Dank für die Aufmerksamkeit!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396DC26-F39A-3846-0FCD-EFA9F0E5F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10" y="4970935"/>
            <a:ext cx="2021983" cy="105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platzhalter 15">
            <a:extLst>
              <a:ext uri="{FF2B5EF4-FFF2-40B4-BE49-F238E27FC236}">
                <a16:creationId xmlns:a16="http://schemas.microsoft.com/office/drawing/2014/main" id="{AB482557-4373-3772-F82B-7946B7493A69}"/>
              </a:ext>
            </a:extLst>
          </p:cNvPr>
          <p:cNvSpPr txBox="1">
            <a:spLocks/>
          </p:cNvSpPr>
          <p:nvPr/>
        </p:nvSpPr>
        <p:spPr>
          <a:xfrm>
            <a:off x="7749418" y="2464415"/>
            <a:ext cx="3360215" cy="286232"/>
          </a:xfrm>
          <a:prstGeom prst="rect">
            <a:avLst/>
          </a:prstGeom>
        </p:spPr>
        <p:txBody>
          <a:bodyPr vert="horz" wrap="none" lIns="0" tIns="45720" rIns="0" bIns="45720" rtlCol="0" anchor="ctr">
            <a:no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>
                <a:solidFill>
                  <a:schemeClr val="bg1"/>
                </a:solidFill>
              </a:rPr>
              <a:t>Gruppe 257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05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b="1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1240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7065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770764-3665-81AC-E797-A7EF3609DD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Projektaufgabe</a:t>
            </a:r>
            <a:r>
              <a:rPr lang="en-GB" dirty="0"/>
              <a:t>: </a:t>
            </a:r>
            <a:r>
              <a:rPr lang="en-GB" dirty="0" err="1"/>
              <a:t>Pixelwiederholung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buClr>
                <a:srgbClr val="2F70B3"/>
              </a:buClr>
            </a:pPr>
            <a:r>
              <a:rPr lang="de-DE" b="1" dirty="0"/>
              <a:t>Generelle Funktionsweise (1/2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D0914A-29A6-3FB5-C459-1F1943796957}"/>
              </a:ext>
            </a:extLst>
          </p:cNvPr>
          <p:cNvSpPr/>
          <p:nvPr/>
        </p:nvSpPr>
        <p:spPr>
          <a:xfrm>
            <a:off x="922268" y="1606754"/>
            <a:ext cx="10621628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6A592EB6-B986-CBE2-8014-9D07843E3D95}"/>
              </a:ext>
            </a:extLst>
          </p:cNvPr>
          <p:cNvSpPr/>
          <p:nvPr/>
        </p:nvSpPr>
        <p:spPr>
          <a:xfrm flipH="1">
            <a:off x="1036386" y="1623622"/>
            <a:ext cx="2937752" cy="4122085"/>
          </a:xfrm>
          <a:prstGeom prst="homePlate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216000" tIns="144000" rIns="144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Inputbild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 in BMP-Forma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1. Teil: window:</a:t>
            </a:r>
          </a:p>
          <a:p>
            <a:pPr marL="463550" lvl="1" indent="-285750">
              <a:spcAft>
                <a:spcPts val="600"/>
              </a:spcAft>
              <a:buClr>
                <a:srgbClr val="FD9A00"/>
              </a:buClr>
              <a:buFont typeface="Arial" panose="020B0604020202020204" pitchFamily="34" charset="0"/>
              <a:buChar char="•"/>
              <a:defRPr/>
            </a:pP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berechnet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au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den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Eingabedaten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des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Bild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ein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Fenster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mit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den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Pixelkoordinaten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im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Bereich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von (x, y) bis (x + width, y + height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2</a:t>
            </a:r>
            <a:r>
              <a:rPr lang="en-GB" sz="1400" b="1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. Teil: zoom</a:t>
            </a:r>
          </a:p>
          <a:p>
            <a:pPr marL="444500" marR="0" lvl="0" indent="-2667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Arial" panose="020B0604020202020204" pitchFamily="34" charset="0"/>
              <a:buChar char="•"/>
              <a:defRPr/>
            </a:pP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Skaliert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den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Fensterbereich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um den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Skalierungsfaktor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und </a:t>
            </a:r>
            <a:r>
              <a:rPr lang="en-GB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füllt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 die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Output:</a:t>
            </a:r>
            <a:r>
              <a:rPr kumimoji="0" lang="en-GB" sz="1400" i="0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 </a:t>
            </a:r>
            <a:r>
              <a:rPr kumimoji="0" lang="en-GB" sz="1400" i="0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verändertes</a:t>
            </a:r>
            <a:r>
              <a:rPr kumimoji="0" lang="en-GB" sz="1400" i="0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 Bild in BMP-Format</a:t>
            </a:r>
            <a:endParaRPr kumimoji="0" lang="en-GB" sz="1400" b="1" i="0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2E9D994-F0C5-C2E0-E7B4-F7FAD1396DF2}"/>
              </a:ext>
            </a:extLst>
          </p:cNvPr>
          <p:cNvSpPr/>
          <p:nvPr/>
        </p:nvSpPr>
        <p:spPr>
          <a:xfrm>
            <a:off x="992305" y="1251836"/>
            <a:ext cx="3191578" cy="345599"/>
          </a:xfrm>
          <a:prstGeom prst="rect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Anforderungen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Sechseck 23">
            <a:extLst>
              <a:ext uri="{FF2B5EF4-FFF2-40B4-BE49-F238E27FC236}">
                <a16:creationId xmlns:a16="http://schemas.microsoft.com/office/drawing/2014/main" id="{12D52867-84B4-57FF-5E90-69216A3183D3}"/>
              </a:ext>
            </a:extLst>
          </p:cNvPr>
          <p:cNvSpPr>
            <a:spLocks noChangeAspect="1"/>
          </p:cNvSpPr>
          <p:nvPr/>
        </p:nvSpPr>
        <p:spPr>
          <a:xfrm>
            <a:off x="398995" y="1251836"/>
            <a:ext cx="760319" cy="691199"/>
          </a:xfrm>
          <a:prstGeom prst="hexagon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b="1" dirty="0">
              <a:solidFill>
                <a:schemeClr val="tx1"/>
              </a:solidFill>
            </a:endParaRP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AF2E98D1-4C71-265E-5299-735631021937}"/>
              </a:ext>
            </a:extLst>
          </p:cNvPr>
          <p:cNvCxnSpPr>
            <a:cxnSpLocks/>
          </p:cNvCxnSpPr>
          <p:nvPr/>
        </p:nvCxnSpPr>
        <p:spPr>
          <a:xfrm>
            <a:off x="4199023" y="1251836"/>
            <a:ext cx="0" cy="4937283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6093E41-909E-62AA-3CA3-FD70F2BF38A8}"/>
              </a:ext>
            </a:extLst>
          </p:cNvPr>
          <p:cNvSpPr txBox="1"/>
          <p:nvPr/>
        </p:nvSpPr>
        <p:spPr>
          <a:xfrm>
            <a:off x="4656376" y="1635258"/>
            <a:ext cx="61009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llustration 2. Teil: zoom</a:t>
            </a:r>
            <a:endParaRPr lang="en-GB" sz="1400" dirty="0"/>
          </a:p>
        </p:txBody>
      </p:sp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5371BD81-6D04-8892-B0D8-AF96BA14C0F8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68376" y="1662170"/>
            <a:ext cx="288000" cy="288000"/>
          </a:xfrm>
        </p:spPr>
      </p:pic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E5B83353-C4AE-9221-C8C9-4C81E481A172}"/>
              </a:ext>
            </a:extLst>
          </p:cNvPr>
          <p:cNvSpPr txBox="1">
            <a:spLocks/>
          </p:cNvSpPr>
          <p:nvPr/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0" u="none" strike="noStrike" baseline="30000" dirty="0">
                <a:solidFill>
                  <a:srgbClr val="111111"/>
                </a:solidFill>
                <a:effectLst/>
                <a:latin typeface="Zenon"/>
              </a:rPr>
              <a:t>1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Source: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Reveal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rom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The Center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or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Investigative Reporting</a:t>
            </a:r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99E9E0D-BCC2-6748-A3A7-22B3F33EC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841" y="1366469"/>
            <a:ext cx="394463" cy="394463"/>
          </a:xfrm>
          <a:prstGeom prst="rect">
            <a:avLst/>
          </a:prstGeom>
        </p:spPr>
      </p:pic>
      <p:pic>
        <p:nvPicPr>
          <p:cNvPr id="16" name="Grafik 15" descr="Ein Bild, das Quadrat, Farbigkeit, Rechteck, Reihe enthält.&#10;&#10;Automatisch generierte Beschreibung">
            <a:extLst>
              <a:ext uri="{FF2B5EF4-FFF2-40B4-BE49-F238E27FC236}">
                <a16:creationId xmlns:a16="http://schemas.microsoft.com/office/drawing/2014/main" id="{820A1B20-5174-71A4-3AD4-772CDAD10B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122" y="4149478"/>
            <a:ext cx="1540296" cy="1540296"/>
          </a:xfrm>
          <a:prstGeom prst="rect">
            <a:avLst/>
          </a:prstGeom>
        </p:spPr>
      </p:pic>
      <p:pic>
        <p:nvPicPr>
          <p:cNvPr id="22" name="Grafik 21" descr="Ein Bild, das Screenshot, Quadrat, Farbigkeit, Rechteck enthält.&#10;&#10;Automatisch generierte Beschreibung">
            <a:extLst>
              <a:ext uri="{FF2B5EF4-FFF2-40B4-BE49-F238E27FC236}">
                <a16:creationId xmlns:a16="http://schemas.microsoft.com/office/drawing/2014/main" id="{96F3D90E-4878-AAE2-B466-A20350CC22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173" y="4149477"/>
            <a:ext cx="1528126" cy="1530977"/>
          </a:xfrm>
          <a:prstGeom prst="rect">
            <a:avLst/>
          </a:prstGeom>
        </p:spPr>
      </p:pic>
      <p:pic>
        <p:nvPicPr>
          <p:cNvPr id="20" name="Grafik 19" descr="Ein Bild, das Quadrat, Farbigkeit, Rechteck, Reihe enthält.&#10;&#10;Automatisch generierte Beschreibung">
            <a:extLst>
              <a:ext uri="{FF2B5EF4-FFF2-40B4-BE49-F238E27FC236}">
                <a16:creationId xmlns:a16="http://schemas.microsoft.com/office/drawing/2014/main" id="{8B31208D-36C2-118C-91E4-1E331E17966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122" y="2081935"/>
            <a:ext cx="1538708" cy="1526734"/>
          </a:xfrm>
          <a:prstGeom prst="rect">
            <a:avLst/>
          </a:prstGeom>
        </p:spPr>
      </p:pic>
      <p:pic>
        <p:nvPicPr>
          <p:cNvPr id="26" name="Grafik 25" descr="Ein Bild, das Rechteck, Farbigkeit, Screenshot, Quadrat enthält.&#10;&#10;Automatisch generierte Beschreibung">
            <a:extLst>
              <a:ext uri="{FF2B5EF4-FFF2-40B4-BE49-F238E27FC236}">
                <a16:creationId xmlns:a16="http://schemas.microsoft.com/office/drawing/2014/main" id="{EF0427BB-8D2A-2801-4A9E-DEAAC38774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566" y="2449335"/>
            <a:ext cx="797934" cy="791935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5914D853-7B47-6B81-B234-CF339660C824}"/>
              </a:ext>
            </a:extLst>
          </p:cNvPr>
          <p:cNvSpPr txBox="1"/>
          <p:nvPr/>
        </p:nvSpPr>
        <p:spPr>
          <a:xfrm>
            <a:off x="4368376" y="2691415"/>
            <a:ext cx="16764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usgangsbild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:</a:t>
            </a:r>
            <a:endParaRPr lang="en-GB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46BBD69-D1E1-A795-7C3B-29399595AA04}"/>
              </a:ext>
            </a:extLst>
          </p:cNvPr>
          <p:cNvSpPr txBox="1"/>
          <p:nvPr/>
        </p:nvSpPr>
        <p:spPr>
          <a:xfrm>
            <a:off x="4368376" y="4761076"/>
            <a:ext cx="167642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kalier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aktor</a:t>
            </a:r>
            <a:r>
              <a:rPr lang="en-GB" sz="1400" kern="0" dirty="0">
                <a:solidFill>
                  <a:srgbClr val="000000"/>
                </a:solidFill>
                <a:latin typeface="Verdana"/>
              </a:rPr>
              <a:t>:</a:t>
            </a:r>
            <a:endParaRPr lang="en-GB" sz="1400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7F00CD3F-FCF7-489D-2B82-296B03A5256F}"/>
              </a:ext>
            </a:extLst>
          </p:cNvPr>
          <p:cNvSpPr txBox="1"/>
          <p:nvPr/>
        </p:nvSpPr>
        <p:spPr>
          <a:xfrm>
            <a:off x="7903886" y="2475970"/>
            <a:ext cx="16764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cken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füll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rekten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chbarn</a:t>
            </a:r>
            <a:endParaRPr lang="en-GB" sz="1400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A1C7257-CF09-C8EC-E11E-138C25D1FFE6}"/>
              </a:ext>
            </a:extLst>
          </p:cNvPr>
          <p:cNvSpPr txBox="1"/>
          <p:nvPr/>
        </p:nvSpPr>
        <p:spPr>
          <a:xfrm>
            <a:off x="7903886" y="4653354"/>
            <a:ext cx="167642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cken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füll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4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t</a:t>
            </a: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ie-Breaker</a:t>
            </a:r>
            <a:r>
              <a:rPr lang="en-GB" sz="1400" kern="0" dirty="0">
                <a:solidFill>
                  <a:srgbClr val="000000"/>
                </a:solidFill>
                <a:latin typeface="Verdana"/>
                <a:sym typeface="Wingdings" pitchFamily="2" charset="2"/>
              </a:rPr>
              <a:t> (</a:t>
            </a:r>
            <a:r>
              <a:rPr lang="en-GB" sz="1400" i="1" kern="0" dirty="0">
                <a:solidFill>
                  <a:schemeClr val="accent1"/>
                </a:solidFill>
                <a:latin typeface="Verdana"/>
                <a:sym typeface="Wingdings" pitchFamily="2" charset="2"/>
              </a:rPr>
              <a:t>bottom-left</a:t>
            </a:r>
            <a:r>
              <a:rPr lang="en-GB" sz="1400" kern="0" dirty="0">
                <a:solidFill>
                  <a:srgbClr val="000000"/>
                </a:solidFill>
                <a:latin typeface="Verdana"/>
                <a:sym typeface="Wingdings" pitchFamily="2" charset="2"/>
              </a:rPr>
              <a:t>)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19996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1951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770764-3665-81AC-E797-A7EF3609DD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D0914A-29A6-3FB5-C459-1F1943796957}"/>
              </a:ext>
            </a:extLst>
          </p:cNvPr>
          <p:cNvSpPr/>
          <p:nvPr/>
        </p:nvSpPr>
        <p:spPr>
          <a:xfrm>
            <a:off x="922268" y="1606754"/>
            <a:ext cx="3427310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30F00C9C-8E26-0795-43CC-B0A68C102493}"/>
              </a:ext>
            </a:extLst>
          </p:cNvPr>
          <p:cNvSpPr/>
          <p:nvPr/>
        </p:nvSpPr>
        <p:spPr>
          <a:xfrm>
            <a:off x="4420114" y="1606754"/>
            <a:ext cx="3427310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4224A18B-0337-C07E-658D-6F6233F663C7}"/>
              </a:ext>
            </a:extLst>
          </p:cNvPr>
          <p:cNvSpPr/>
          <p:nvPr/>
        </p:nvSpPr>
        <p:spPr>
          <a:xfrm>
            <a:off x="7917960" y="1606754"/>
            <a:ext cx="3427310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Projektaufgabe</a:t>
            </a:r>
            <a:r>
              <a:rPr lang="en-GB" dirty="0"/>
              <a:t>: </a:t>
            </a:r>
            <a:r>
              <a:rPr lang="en-GB" dirty="0" err="1"/>
              <a:t>Pixelwiederholung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buClr>
                <a:srgbClr val="2F70B3"/>
              </a:buClr>
            </a:pPr>
            <a:r>
              <a:rPr lang="de-DE" b="1" dirty="0"/>
              <a:t>Generelle Funktionsweise (2/2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2E9D994-F0C5-C2E0-E7B4-F7FAD1396DF2}"/>
              </a:ext>
            </a:extLst>
          </p:cNvPr>
          <p:cNvSpPr/>
          <p:nvPr/>
        </p:nvSpPr>
        <p:spPr>
          <a:xfrm>
            <a:off x="992304" y="1251836"/>
            <a:ext cx="3357261" cy="345599"/>
          </a:xfrm>
          <a:prstGeom prst="rect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Beispiel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Sechseck 23">
            <a:extLst>
              <a:ext uri="{FF2B5EF4-FFF2-40B4-BE49-F238E27FC236}">
                <a16:creationId xmlns:a16="http://schemas.microsoft.com/office/drawing/2014/main" id="{12D52867-84B4-57FF-5E90-69216A3183D3}"/>
              </a:ext>
            </a:extLst>
          </p:cNvPr>
          <p:cNvSpPr>
            <a:spLocks noChangeAspect="1"/>
          </p:cNvSpPr>
          <p:nvPr/>
        </p:nvSpPr>
        <p:spPr>
          <a:xfrm>
            <a:off x="398995" y="1251836"/>
            <a:ext cx="760319" cy="691199"/>
          </a:xfrm>
          <a:prstGeom prst="hexagon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b="1" dirty="0">
              <a:solidFill>
                <a:schemeClr val="tx1"/>
              </a:solidFill>
            </a:endParaRP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E5B83353-C4AE-9221-C8C9-4C81E481A172}"/>
              </a:ext>
            </a:extLst>
          </p:cNvPr>
          <p:cNvSpPr txBox="1">
            <a:spLocks/>
          </p:cNvSpPr>
          <p:nvPr/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0" u="none" strike="noStrike" baseline="30000" dirty="0">
                <a:solidFill>
                  <a:srgbClr val="111111"/>
                </a:solidFill>
                <a:effectLst/>
                <a:latin typeface="Zenon"/>
              </a:rPr>
              <a:t>1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Source: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Reveal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rom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The Center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or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Investigative Reporting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EBD12F1-984A-5600-4B7C-BB4ACE08F7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4572" y="1404773"/>
            <a:ext cx="381000" cy="381000"/>
          </a:xfrm>
          <a:prstGeom prst="rect">
            <a:avLst/>
          </a:prstGeom>
        </p:spPr>
      </p:pic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8C7F47E1-DF67-FED1-5B1B-3190555FED79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8046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b="1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92502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76659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A68F06-0FE3-8295-F2BE-383FB43D53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A68F06-0FE3-8295-F2BE-383FB43D5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770764-3665-81AC-E797-A7EF3609DD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4CA00-2A79-FA97-D1C6-A3A3C9D9B3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 err="1"/>
              <a:t>Projektaufgabe</a:t>
            </a:r>
            <a:r>
              <a:rPr lang="en-GB" dirty="0"/>
              <a:t>: </a:t>
            </a:r>
            <a:r>
              <a:rPr lang="en-GB" dirty="0" err="1"/>
              <a:t>Pixelwiederholung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948A0C7-ED11-F12B-DA34-B3C8E0B46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buClr>
                <a:srgbClr val="2F70B3"/>
              </a:buClr>
            </a:pPr>
            <a:r>
              <a:rPr lang="de-DE" b="1" dirty="0"/>
              <a:t>Generelle Funktionswei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BD0914A-29A6-3FB5-C459-1F1943796957}"/>
              </a:ext>
            </a:extLst>
          </p:cNvPr>
          <p:cNvSpPr/>
          <p:nvPr/>
        </p:nvSpPr>
        <p:spPr>
          <a:xfrm>
            <a:off x="922268" y="1606754"/>
            <a:ext cx="10621628" cy="44188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6A592EB6-B986-CBE2-8014-9D07843E3D95}"/>
              </a:ext>
            </a:extLst>
          </p:cNvPr>
          <p:cNvSpPr/>
          <p:nvPr/>
        </p:nvSpPr>
        <p:spPr>
          <a:xfrm flipH="1">
            <a:off x="1317098" y="1623622"/>
            <a:ext cx="3647217" cy="4122085"/>
          </a:xfrm>
          <a:prstGeom prst="homePlate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216000" tIns="144000" rIns="144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D9A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Report of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61 million metric tons of carbon dioxid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in comparison to 67 million metric tons of Target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But: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omitting emission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caused by the huge third-party seller network and overseas suppliers (99% of Amazon's online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D9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Taking responsibility only for emissions of products with an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Amazon brand label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(only 1% of its sales</a:t>
            </a:r>
            <a:r>
              <a:rPr lang="en-GB" sz="1400" kern="0" dirty="0">
                <a:solidFill>
                  <a:srgbClr val="000000">
                    <a:lumMod val="95000"/>
                    <a:lumOff val="5000"/>
                  </a:srgbClr>
                </a:solidFill>
                <a:latin typeface="Verdana"/>
                <a:ea typeface="Verdana"/>
                <a:cs typeface="Verdana"/>
              </a:rPr>
              <a:t>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5E9A1C2-27AF-0C98-EBDC-C5F75CA49D6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3442" y="1723665"/>
            <a:ext cx="273600" cy="2736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2E9D994-F0C5-C2E0-E7B4-F7FAD1396DF2}"/>
              </a:ext>
            </a:extLst>
          </p:cNvPr>
          <p:cNvSpPr/>
          <p:nvPr/>
        </p:nvSpPr>
        <p:spPr>
          <a:xfrm>
            <a:off x="992304" y="1251836"/>
            <a:ext cx="3584735" cy="345599"/>
          </a:xfrm>
          <a:prstGeom prst="rect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Anforderungen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Sechseck 23">
            <a:extLst>
              <a:ext uri="{FF2B5EF4-FFF2-40B4-BE49-F238E27FC236}">
                <a16:creationId xmlns:a16="http://schemas.microsoft.com/office/drawing/2014/main" id="{12D52867-84B4-57FF-5E90-69216A3183D3}"/>
              </a:ext>
            </a:extLst>
          </p:cNvPr>
          <p:cNvSpPr>
            <a:spLocks noChangeAspect="1"/>
          </p:cNvSpPr>
          <p:nvPr/>
        </p:nvSpPr>
        <p:spPr>
          <a:xfrm>
            <a:off x="398995" y="1251836"/>
            <a:ext cx="760319" cy="691199"/>
          </a:xfrm>
          <a:prstGeom prst="hexagon">
            <a:avLst/>
          </a:prstGeom>
          <a:solidFill>
            <a:srgbClr val="0097FF"/>
          </a:solidFill>
          <a:ln>
            <a:solidFill>
              <a:srgbClr val="00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b="1" dirty="0">
              <a:solidFill>
                <a:schemeClr val="tx1"/>
              </a:solidFill>
            </a:endParaRPr>
          </a:p>
        </p:txBody>
      </p:sp>
      <p:pic>
        <p:nvPicPr>
          <p:cNvPr id="29" name="Grafik 28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85F87BB5-E91E-658A-2DCC-12D2C8E011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4092" y="2430618"/>
            <a:ext cx="5755640" cy="27711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AF2E98D1-4C71-265E-5299-735631021937}"/>
              </a:ext>
            </a:extLst>
          </p:cNvPr>
          <p:cNvCxnSpPr/>
          <p:nvPr/>
        </p:nvCxnSpPr>
        <p:spPr>
          <a:xfrm>
            <a:off x="5219441" y="1443257"/>
            <a:ext cx="0" cy="4745862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6093E41-909E-62AA-3CA3-FD70F2BF38A8}"/>
              </a:ext>
            </a:extLst>
          </p:cNvPr>
          <p:cNvSpPr txBox="1"/>
          <p:nvPr/>
        </p:nvSpPr>
        <p:spPr>
          <a:xfrm>
            <a:off x="5664544" y="1706576"/>
            <a:ext cx="61009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llustration</a:t>
            </a:r>
            <a:endParaRPr lang="en-GB" sz="1400" dirty="0"/>
          </a:p>
        </p:txBody>
      </p:sp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5371BD81-6D04-8892-B0D8-AF96BA14C0F8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62820" y="1670227"/>
            <a:ext cx="288000" cy="288000"/>
          </a:xfrm>
        </p:spPr>
      </p:pic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E5B83353-C4AE-9221-C8C9-4C81E481A172}"/>
              </a:ext>
            </a:extLst>
          </p:cNvPr>
          <p:cNvSpPr txBox="1">
            <a:spLocks/>
          </p:cNvSpPr>
          <p:nvPr/>
        </p:nvSpPr>
        <p:spPr>
          <a:xfrm>
            <a:off x="443525" y="6238800"/>
            <a:ext cx="11307323" cy="2844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>
            <a:lvl1pPr marL="0" indent="0" algn="l" defTabSz="91442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F0E0D"/>
              </a:buClr>
              <a:buFont typeface="Wingdings" pitchFamily="2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9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18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27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36" indent="0" algn="l" defTabSz="91442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F0E0D"/>
              </a:buClr>
              <a:buFont typeface="System Font"/>
              <a:buChar char="▸"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i="0" u="none" strike="noStrike" baseline="30000" dirty="0">
                <a:solidFill>
                  <a:srgbClr val="111111"/>
                </a:solidFill>
                <a:effectLst/>
                <a:latin typeface="Zenon"/>
              </a:rPr>
              <a:t>1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Source: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Reveal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rom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The Center </a:t>
            </a:r>
            <a:r>
              <a:rPr lang="de-DE" b="0" i="0" u="none" strike="noStrike" dirty="0" err="1">
                <a:solidFill>
                  <a:srgbClr val="111111"/>
                </a:solidFill>
                <a:effectLst/>
                <a:latin typeface="Zenon"/>
              </a:rPr>
              <a:t>for</a:t>
            </a:r>
            <a:r>
              <a:rPr lang="de-DE" b="0" i="0" u="none" strike="noStrike" dirty="0">
                <a:solidFill>
                  <a:srgbClr val="111111"/>
                </a:solidFill>
                <a:effectLst/>
                <a:latin typeface="Zenon"/>
              </a:rPr>
              <a:t> Investigative Reporting</a:t>
            </a:r>
            <a:endParaRPr lang="en-GB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99E9E0D-BCC2-6748-A3A7-22B3F33EC2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841" y="1366469"/>
            <a:ext cx="394463" cy="39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76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C33E48-7EE7-7F76-08A1-EEDA242286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C33E48-7EE7-7F76-08A1-EEDA2422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D9F419-A9AB-2209-578F-A2C9023E0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Clr>
                <a:srgbClr val="2F70B3"/>
              </a:buClr>
            </a:pPr>
            <a:r>
              <a:rPr lang="de-DE" dirty="0"/>
              <a:t>Aufgabe und generelle Funktionsweise</a:t>
            </a:r>
          </a:p>
          <a:p>
            <a:pPr>
              <a:buClr>
                <a:srgbClr val="2F70B3"/>
              </a:buClr>
            </a:pPr>
            <a:r>
              <a:rPr lang="de-DE" b="1" dirty="0"/>
              <a:t>Implementierung: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b="1" dirty="0"/>
              <a:t>Rahmenprogramm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 err="1"/>
              <a:t>window</a:t>
            </a:r>
            <a:r>
              <a:rPr lang="de-DE" sz="1200" dirty="0"/>
              <a:t>()</a:t>
            </a:r>
          </a:p>
          <a:p>
            <a:pPr marL="531459" lvl="1" indent="-171450">
              <a:buFont typeface="Arial" panose="020B0604020202020204" pitchFamily="34" charset="0"/>
              <a:buChar char="•"/>
            </a:pPr>
            <a:r>
              <a:rPr lang="de-DE" sz="1200" dirty="0"/>
              <a:t>zoom()</a:t>
            </a:r>
          </a:p>
          <a:p>
            <a:pPr>
              <a:buClr>
                <a:srgbClr val="2F70B3"/>
              </a:buClr>
            </a:pPr>
            <a:r>
              <a:rPr lang="de-DE" dirty="0" err="1"/>
              <a:t>Testing</a:t>
            </a:r>
            <a:endParaRPr lang="de-DE" dirty="0"/>
          </a:p>
          <a:p>
            <a:pPr>
              <a:buClr>
                <a:srgbClr val="2F70B3"/>
              </a:buClr>
            </a:pPr>
            <a:r>
              <a:rPr lang="de-DE" dirty="0"/>
              <a:t>Performan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AF37601-3EAD-D1D5-2B63-DBD7567F7E4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AAF816-AF93-97B0-90C8-EEB813A91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35270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7037&quot;&gt;&lt;version val=&quot;3285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1.89999999999999991118E+00&quot;&gt;&lt;m_msothmcolidx val=&quot;0&quot;/&gt;&lt;m_rgb r=&quot;AF&quot; g=&quot;0F&quot; b=&quot;0C&quot;/&gt;&lt;/elem&gt;&lt;elem m_fUsage=&quot;1.53899999999999992362E+00&quot;&gt;&lt;m_msothmcolidx val=&quot;0&quot;/&gt;&lt;m_rgb r=&quot;64&quot; g=&quot;64&quot; b=&quot;64&quot;/&gt;&lt;/elem&gt;&lt;elem m_fUsage=&quot;1.24659000000000008690E+00&quot;&gt;&lt;m_msothmcolidx val=&quot;0&quot;/&gt;&lt;m_rgb r=&quot;00&quot; g=&quot;67&quot; b=&quot;7F&quot;/&gt;&lt;/elem&gt;&lt;elem m_fUsage=&quot;5.31441000000000163261E-01&quot;&gt;&lt;m_msothmcolidx val=&quot;0&quot;/&gt;&lt;m_rgb r=&quot;74&quot; g=&quot;26&quot; b=&quot;26&quot;/&gt;&lt;/elem&gt;&lt;elem m_fUsage=&quot;4.78296900000000135833E-01&quot;&gt;&lt;m_msothmcolidx val=&quot;0&quot;/&gt;&lt;m_rgb r=&quot;4D&quot; g=&quot;19&quot; b=&quot;19&quot;/&gt;&lt;/elem&gt;&lt;elem m_fUsage=&quot;4.30467210000000155556E-01&quot;&gt;&lt;m_msothmcolidx val=&quot;0&quot;/&gt;&lt;m_rgb r=&quot;E1&quot; g=&quot;A3&quot; b=&quot;A3&quot;/&gt;&lt;/elem&gt;&lt;elem m_fUsage=&quot;3.87420489000000145552E-01&quot;&gt;&lt;m_msothmcolidx val=&quot;0&quot;/&gt;&lt;m_rgb r=&quot;D1&quot; g=&quot;76&quot; b=&quot;76&quot;/&gt;&lt;/elem&gt;&lt;elem m_fUsage=&quot;3.48678440100000153201E-01&quot;&gt;&lt;m_msothmcolidx val=&quot;0&quot;/&gt;&lt;m_rgb r=&quot;87&quot; g=&quot;87&quot; b=&quot;87&quot;/&gt;&lt;/elem&gt;&lt;elem m_fUsage=&quot;3.13810596090000171188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hyBI53L4Gt5Xp_TxX_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hyBI53L4Gt5Xp_TxX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wmN.KtSSvu9BzR7MkXg"/>
</p:tagLst>
</file>

<file path=ppt/theme/theme1.xml><?xml version="1.0" encoding="utf-8"?>
<a:theme xmlns:a="http://schemas.openxmlformats.org/drawingml/2006/main" name="1_AC_Master_16:9">
  <a:themeElements>
    <a:clrScheme name="Benutzerdefiniert 10">
      <a:dk1>
        <a:srgbClr val="000000"/>
      </a:dk1>
      <a:lt1>
        <a:srgbClr val="FFFFFF"/>
      </a:lt1>
      <a:dk2>
        <a:srgbClr val="0A497B"/>
      </a:dk2>
      <a:lt2>
        <a:srgbClr val="EBF0F5"/>
      </a:lt2>
      <a:accent1>
        <a:srgbClr val="AF0E0D"/>
      </a:accent1>
      <a:accent2>
        <a:srgbClr val="FFCB01"/>
      </a:accent2>
      <a:accent3>
        <a:srgbClr val="505A64"/>
      </a:accent3>
      <a:accent4>
        <a:srgbClr val="48A44A"/>
      </a:accent4>
      <a:accent5>
        <a:srgbClr val="F18407"/>
      </a:accent5>
      <a:accent6>
        <a:srgbClr val="4F78A0"/>
      </a:accent6>
      <a:hlink>
        <a:srgbClr val="AF0E0D"/>
      </a:hlink>
      <a:folHlink>
        <a:srgbClr val="760E0C"/>
      </a:folHlink>
    </a:clrScheme>
    <a:fontScheme name="AC_Font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 marL="0" indent="0" algn="l">
          <a:buClr>
            <a:schemeClr val="accent1"/>
          </a:buClr>
          <a:buFont typeface="Wingdings" panose="05000000000000000000" pitchFamily="2" charset="2"/>
          <a:buNone/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_Folienmaster_NEU_2020[10172]  -  Schreibgeschützt" id="{771A5CD1-5E46-4EB6-B656-526872EAE7D8}" vid="{6D9F4114-BB44-4B90-8072-ABC38782A3B2}"/>
    </a:ext>
  </a:extLst>
</a:theme>
</file>

<file path=ppt/theme/theme2.xml><?xml version="1.0" encoding="utf-8"?>
<a:theme xmlns:a="http://schemas.openxmlformats.org/drawingml/2006/main" name="2_AC_Master_16:9">
  <a:themeElements>
    <a:clrScheme name="Benutzerdefiniert 1">
      <a:dk1>
        <a:srgbClr val="000000"/>
      </a:dk1>
      <a:lt1>
        <a:srgbClr val="FFFFFF"/>
      </a:lt1>
      <a:dk2>
        <a:srgbClr val="D60030"/>
      </a:dk2>
      <a:lt2>
        <a:srgbClr val="878787"/>
      </a:lt2>
      <a:accent1>
        <a:srgbClr val="E6E6E6"/>
      </a:accent1>
      <a:accent2>
        <a:srgbClr val="4F4F4F"/>
      </a:accent2>
      <a:accent3>
        <a:srgbClr val="FFC000"/>
      </a:accent3>
      <a:accent4>
        <a:srgbClr val="00AF50"/>
      </a:accent4>
      <a:accent5>
        <a:srgbClr val="0070C0"/>
      </a:accent5>
      <a:accent6>
        <a:srgbClr val="702FA0"/>
      </a:accent6>
      <a:hlink>
        <a:srgbClr val="D60030"/>
      </a:hlink>
      <a:folHlink>
        <a:srgbClr val="D60030"/>
      </a:folHlink>
    </a:clrScheme>
    <a:fontScheme name="AC_Font_Mast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71450" indent="-171450">
          <a:buClr>
            <a:schemeClr val="accent1"/>
          </a:buClr>
          <a:buFont typeface="Wingdings" panose="05000000000000000000" pitchFamily="2" charset="2"/>
          <a:buChar char="§"/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0C73D8EB710334B9FF3CA4705B08F24" ma:contentTypeVersion="11" ma:contentTypeDescription="Ein neues Dokument erstellen." ma:contentTypeScope="" ma:versionID="283102f1ec7ce6ac42fe6765753563cc">
  <xsd:schema xmlns:xsd="http://www.w3.org/2001/XMLSchema" xmlns:xs="http://www.w3.org/2001/XMLSchema" xmlns:p="http://schemas.microsoft.com/office/2006/metadata/properties" xmlns:ns2="976b7475-b379-4e38-bf3f-1dd8c88faed3" xmlns:ns3="2a2ce87d-0cc9-42bc-a488-41c897e29f31" targetNamespace="http://schemas.microsoft.com/office/2006/metadata/properties" ma:root="true" ma:fieldsID="61ce48f5920bb9b92d4731300c8e8675" ns2:_="" ns3:_="">
    <xsd:import namespace="976b7475-b379-4e38-bf3f-1dd8c88faed3"/>
    <xsd:import namespace="2a2ce87d-0cc9-42bc-a488-41c897e29f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6b7475-b379-4e38-bf3f-1dd8c88fae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00749fd3-16d3-4f7d-944d-a7f5749beb9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2ce87d-0cc9-42bc-a488-41c897e29f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09e34e0-cdc0-4ec2-826b-7e77e0e93456}" ma:internalName="TaxCatchAll" ma:showField="CatchAllData" ma:web="2a2ce87d-0cc9-42bc-a488-41c897e29f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76b7475-b379-4e38-bf3f-1dd8c88faed3">
      <Terms xmlns="http://schemas.microsoft.com/office/infopath/2007/PartnerControls"/>
    </lcf76f155ced4ddcb4097134ff3c332f>
    <TaxCatchAll xmlns="2a2ce87d-0cc9-42bc-a488-41c897e29f3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75C2D6-4906-46A9-B9A9-946BA53AFE28}">
  <ds:schemaRefs>
    <ds:schemaRef ds:uri="2a2ce87d-0cc9-42bc-a488-41c897e29f31"/>
    <ds:schemaRef ds:uri="976b7475-b379-4e38-bf3f-1dd8c88fae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D64760A-6BFD-4282-A80E-D716BFD0C02E}">
  <ds:schemaRefs>
    <ds:schemaRef ds:uri="2a2ce87d-0cc9-42bc-a488-41c897e29f31"/>
    <ds:schemaRef ds:uri="976b7475-b379-4e38-bf3f-1dd8c88fae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6A3227-A490-44F2-9B4F-E0522D8A6A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_Folienmaster_NEU_2022</Template>
  <TotalTime>0</TotalTime>
  <Words>633</Words>
  <Application>Microsoft Macintosh PowerPoint</Application>
  <PresentationFormat>Breitbild</PresentationFormat>
  <Paragraphs>170</Paragraphs>
  <Slides>20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9" baseType="lpstr">
      <vt:lpstr>Arial</vt:lpstr>
      <vt:lpstr>Calibri</vt:lpstr>
      <vt:lpstr>System Font</vt:lpstr>
      <vt:lpstr>Verdana</vt:lpstr>
      <vt:lpstr>Wingdings</vt:lpstr>
      <vt:lpstr>Zenon</vt:lpstr>
      <vt:lpstr>1_AC_Master_16:9</vt:lpstr>
      <vt:lpstr>2_AC_Master_16:9</vt:lpstr>
      <vt:lpstr>think-cell Folie</vt:lpstr>
      <vt:lpstr>PowerPoint-Präsentation</vt:lpstr>
      <vt:lpstr>Agenda</vt:lpstr>
      <vt:lpstr>Agenda</vt:lpstr>
      <vt:lpstr>Generelle Funktionsweise (1/2)</vt:lpstr>
      <vt:lpstr>Generelle Funktionsweise (2/2)</vt:lpstr>
      <vt:lpstr>Agenda</vt:lpstr>
      <vt:lpstr>Agenda</vt:lpstr>
      <vt:lpstr>Generelle Funktionsweise</vt:lpstr>
      <vt:lpstr>Agenda</vt:lpstr>
      <vt:lpstr>Agenda</vt:lpstr>
      <vt:lpstr>Generelle Funktionsweise</vt:lpstr>
      <vt:lpstr>Agenda</vt:lpstr>
      <vt:lpstr>Agenda</vt:lpstr>
      <vt:lpstr>Generelle Funktionsweise</vt:lpstr>
      <vt:lpstr>Agenda</vt:lpstr>
      <vt:lpstr>Agenda</vt:lpstr>
      <vt:lpstr>Beispielfolie</vt:lpstr>
      <vt:lpstr>Agenda</vt:lpstr>
      <vt:lpstr>Agenda</vt:lpstr>
      <vt:lpstr>PowerPoint-Präsentation</vt:lpstr>
    </vt:vector>
  </TitlesOfParts>
  <Manager/>
  <Company>Academy Consult München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Greta Garkisch</dc:creator>
  <cp:keywords/>
  <dc:description/>
  <cp:lastModifiedBy> </cp:lastModifiedBy>
  <cp:revision>89</cp:revision>
  <cp:lastPrinted>2023-07-10T11:52:46Z</cp:lastPrinted>
  <dcterms:created xsi:type="dcterms:W3CDTF">2022-02-02T20:29:51Z</dcterms:created>
  <dcterms:modified xsi:type="dcterms:W3CDTF">2023-07-12T10:03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C73D8EB710334B9FF3CA4705B08F24</vt:lpwstr>
  </property>
  <property fmtid="{D5CDD505-2E9C-101B-9397-08002B2CF9AE}" pid="3" name="MediaServiceImageTags">
    <vt:lpwstr/>
  </property>
</Properties>
</file>